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448" r:id="rId2"/>
    <p:sldId id="509" r:id="rId3"/>
    <p:sldId id="577" r:id="rId4"/>
    <p:sldId id="588" r:id="rId5"/>
    <p:sldId id="500" r:id="rId6"/>
    <p:sldId id="592" r:id="rId7"/>
    <p:sldId id="516" r:id="rId8"/>
    <p:sldId id="594" r:id="rId9"/>
    <p:sldId id="595" r:id="rId10"/>
    <p:sldId id="515" r:id="rId11"/>
    <p:sldId id="499" r:id="rId12"/>
    <p:sldId id="502" r:id="rId13"/>
    <p:sldId id="510" r:id="rId14"/>
    <p:sldId id="466" r:id="rId15"/>
    <p:sldId id="505" r:id="rId16"/>
    <p:sldId id="358" r:id="rId17"/>
  </p:sldIdLst>
  <p:sldSz cx="9144000" cy="6858000" type="screen4x3"/>
  <p:notesSz cx="6858000" cy="9926638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ic" initials="e" lastIdx="5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hiddenSlides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FF"/>
    <a:srgbClr val="0066FF"/>
    <a:srgbClr val="002A7E"/>
    <a:srgbClr val="2A53A6"/>
    <a:srgbClr val="FFCC99"/>
    <a:srgbClr val="CCECFF"/>
    <a:srgbClr val="CCFFCC"/>
    <a:srgbClr val="FFFFCC"/>
    <a:srgbClr val="FF99CC"/>
    <a:srgbClr val="FF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672" autoAdjust="0"/>
    <p:restoredTop sz="91908" autoAdjust="0"/>
  </p:normalViewPr>
  <p:slideViewPr>
    <p:cSldViewPr snapToGrid="0" snapToObjects="1">
      <p:cViewPr varScale="1">
        <p:scale>
          <a:sx n="83" d="100"/>
          <a:sy n="83" d="100"/>
        </p:scale>
        <p:origin x="208" y="12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1412936-E439-2548-A791-149E80BF1DF0}" type="doc">
      <dgm:prSet loTypeId="urn:microsoft.com/office/officeart/2005/8/layout/process4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511F5CC-B854-F04E-B120-8E0167633E56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600" dirty="0">
              <a:solidFill>
                <a:schemeClr val="accent6"/>
              </a:solidFill>
            </a:rPr>
            <a:t>Screening</a:t>
          </a:r>
        </a:p>
      </dgm:t>
    </dgm:pt>
    <dgm:pt modelId="{FB3B17B0-4515-F64C-8D53-1B23C2733F29}" type="parTrans" cxnId="{45AE6E6C-3839-1F40-9FBA-67CECAAEA658}">
      <dgm:prSet/>
      <dgm:spPr/>
      <dgm:t>
        <a:bodyPr/>
        <a:lstStyle/>
        <a:p>
          <a:endParaRPr lang="en-US"/>
        </a:p>
      </dgm:t>
    </dgm:pt>
    <dgm:pt modelId="{1DC6A36E-BE86-FB4E-A37B-7796A26B230F}" type="sibTrans" cxnId="{45AE6E6C-3839-1F40-9FBA-67CECAAEA658}">
      <dgm:prSet custT="1"/>
      <dgm:spPr/>
      <dgm:t>
        <a:bodyPr/>
        <a:lstStyle/>
        <a:p>
          <a:endParaRPr lang="en-US" sz="1400"/>
        </a:p>
      </dgm:t>
    </dgm:pt>
    <dgm:pt modelId="{32DB8FBE-072F-914C-BAD1-687B45EE621D}">
      <dgm:prSet phldrT="[Text]" custT="1"/>
      <dgm:spPr/>
      <dgm:t>
        <a:bodyPr/>
        <a:lstStyle/>
        <a:p>
          <a:r>
            <a:rPr lang="en-US" sz="1200" dirty="0"/>
            <a:t>Positive lists</a:t>
          </a:r>
        </a:p>
      </dgm:t>
    </dgm:pt>
    <dgm:pt modelId="{C838977F-EC31-0044-9842-6686C0CFDE3D}" type="parTrans" cxnId="{84F0ED10-5785-B949-B814-ADCC8A06881A}">
      <dgm:prSet/>
      <dgm:spPr/>
      <dgm:t>
        <a:bodyPr/>
        <a:lstStyle/>
        <a:p>
          <a:endParaRPr lang="en-US"/>
        </a:p>
      </dgm:t>
    </dgm:pt>
    <dgm:pt modelId="{CE19F2C5-B845-7343-AF18-09602A56C0AD}" type="sibTrans" cxnId="{84F0ED10-5785-B949-B814-ADCC8A06881A}">
      <dgm:prSet/>
      <dgm:spPr/>
      <dgm:t>
        <a:bodyPr/>
        <a:lstStyle/>
        <a:p>
          <a:endParaRPr lang="en-US"/>
        </a:p>
      </dgm:t>
    </dgm:pt>
    <dgm:pt modelId="{2F3AE28C-5484-4B49-8922-A4B8CEBA3A2A}">
      <dgm:prSet phldrT="[Text]" custT="1"/>
      <dgm:spPr>
        <a:solidFill>
          <a:srgbClr val="FF6600"/>
        </a:solidFill>
      </dgm:spPr>
      <dgm:t>
        <a:bodyPr/>
        <a:lstStyle/>
        <a:p>
          <a:r>
            <a:rPr lang="en-US" sz="1600" dirty="0"/>
            <a:t>Scoping</a:t>
          </a:r>
        </a:p>
      </dgm:t>
    </dgm:pt>
    <dgm:pt modelId="{3866EC4E-F8C5-304E-ADE1-EBA057B1B11D}" type="parTrans" cxnId="{281F77BA-86FA-9D4D-92E0-50C11F2ACCD8}">
      <dgm:prSet/>
      <dgm:spPr/>
      <dgm:t>
        <a:bodyPr/>
        <a:lstStyle/>
        <a:p>
          <a:endParaRPr lang="en-US"/>
        </a:p>
      </dgm:t>
    </dgm:pt>
    <dgm:pt modelId="{6C050513-9CC4-FD40-BC31-1D2C1A1BE33E}" type="sibTrans" cxnId="{281F77BA-86FA-9D4D-92E0-50C11F2ACCD8}">
      <dgm:prSet custT="1"/>
      <dgm:spPr/>
      <dgm:t>
        <a:bodyPr/>
        <a:lstStyle/>
        <a:p>
          <a:endParaRPr lang="en-US" sz="1400"/>
        </a:p>
      </dgm:t>
    </dgm:pt>
    <dgm:pt modelId="{6BC8B892-CB87-194E-AE73-6E5D0AAE4395}">
      <dgm:prSet phldrT="[Text]" custT="1"/>
      <dgm:spPr/>
      <dgm:t>
        <a:bodyPr/>
        <a:lstStyle/>
        <a:p>
          <a:r>
            <a:rPr lang="en-US" sz="1050" dirty="0"/>
            <a:t>Participatory</a:t>
          </a:r>
        </a:p>
      </dgm:t>
    </dgm:pt>
    <dgm:pt modelId="{97FE870C-13CD-EF4A-B01E-F49872EFCED4}" type="parTrans" cxnId="{D297B007-6BFC-5848-A792-1571EA6D1724}">
      <dgm:prSet/>
      <dgm:spPr/>
      <dgm:t>
        <a:bodyPr/>
        <a:lstStyle/>
        <a:p>
          <a:endParaRPr lang="en-US"/>
        </a:p>
      </dgm:t>
    </dgm:pt>
    <dgm:pt modelId="{CA77B2A1-2407-A347-8BAC-9157EA56F003}" type="sibTrans" cxnId="{D297B007-6BFC-5848-A792-1571EA6D1724}">
      <dgm:prSet/>
      <dgm:spPr/>
      <dgm:t>
        <a:bodyPr/>
        <a:lstStyle/>
        <a:p>
          <a:endParaRPr lang="en-US"/>
        </a:p>
      </dgm:t>
    </dgm:pt>
    <dgm:pt modelId="{C66E5115-03DC-9E48-BA0B-EAD563C490F2}">
      <dgm:prSet phldrT="[Text]" custT="1"/>
      <dgm:spPr>
        <a:solidFill>
          <a:schemeClr val="bg2">
            <a:lumMod val="50000"/>
          </a:schemeClr>
        </a:solidFill>
      </dgm:spPr>
      <dgm:t>
        <a:bodyPr/>
        <a:lstStyle/>
        <a:p>
          <a:r>
            <a:rPr lang="en-US" sz="1600" dirty="0"/>
            <a:t>Assessment</a:t>
          </a:r>
        </a:p>
      </dgm:t>
    </dgm:pt>
    <dgm:pt modelId="{1DB09BB6-72F8-5844-AF20-E731B63EE86F}" type="parTrans" cxnId="{4B0A1D93-11D7-424E-AA20-2403A996C023}">
      <dgm:prSet/>
      <dgm:spPr/>
      <dgm:t>
        <a:bodyPr/>
        <a:lstStyle/>
        <a:p>
          <a:endParaRPr lang="en-US"/>
        </a:p>
      </dgm:t>
    </dgm:pt>
    <dgm:pt modelId="{B5813D5F-956B-3B49-993E-380117462CF3}" type="sibTrans" cxnId="{4B0A1D93-11D7-424E-AA20-2403A996C023}">
      <dgm:prSet custT="1"/>
      <dgm:spPr/>
      <dgm:t>
        <a:bodyPr/>
        <a:lstStyle/>
        <a:p>
          <a:endParaRPr lang="en-US" sz="1400"/>
        </a:p>
      </dgm:t>
    </dgm:pt>
    <dgm:pt modelId="{83CCDC10-CDC6-FB4F-B755-9D5B45C0BD33}">
      <dgm:prSet phldrT="[Text]" custT="1"/>
      <dgm:spPr/>
      <dgm:t>
        <a:bodyPr/>
        <a:lstStyle/>
        <a:p>
          <a:r>
            <a:rPr lang="en-US" sz="1100" dirty="0"/>
            <a:t>Different techniques</a:t>
          </a:r>
        </a:p>
      </dgm:t>
    </dgm:pt>
    <dgm:pt modelId="{51DBE01E-E7C7-7D4C-8E82-A056906C4283}" type="parTrans" cxnId="{2D06BEDC-50BE-5E4D-8DD3-B8A7913238A1}">
      <dgm:prSet/>
      <dgm:spPr/>
      <dgm:t>
        <a:bodyPr/>
        <a:lstStyle/>
        <a:p>
          <a:endParaRPr lang="en-US"/>
        </a:p>
      </dgm:t>
    </dgm:pt>
    <dgm:pt modelId="{CA95E5FF-DADB-E04E-AC53-970660F691D9}" type="sibTrans" cxnId="{2D06BEDC-50BE-5E4D-8DD3-B8A7913238A1}">
      <dgm:prSet/>
      <dgm:spPr/>
      <dgm:t>
        <a:bodyPr/>
        <a:lstStyle/>
        <a:p>
          <a:endParaRPr lang="en-US"/>
        </a:p>
      </dgm:t>
    </dgm:pt>
    <dgm:pt modelId="{59276230-0F08-294D-BC1E-45EF7F2C1DD1}">
      <dgm:prSet phldrT="[Text]" custT="1"/>
      <dgm:spPr/>
      <dgm:t>
        <a:bodyPr/>
        <a:lstStyle/>
        <a:p>
          <a:r>
            <a:rPr lang="en-US" sz="1200" dirty="0"/>
            <a:t>Screening criteria</a:t>
          </a:r>
        </a:p>
      </dgm:t>
    </dgm:pt>
    <dgm:pt modelId="{84AC8599-2105-1E4E-B566-D5B0BACDFBA3}" type="parTrans" cxnId="{954778B4-8CF3-374F-A179-6BA23F4EE1E9}">
      <dgm:prSet/>
      <dgm:spPr/>
      <dgm:t>
        <a:bodyPr/>
        <a:lstStyle/>
        <a:p>
          <a:endParaRPr lang="en-US"/>
        </a:p>
      </dgm:t>
    </dgm:pt>
    <dgm:pt modelId="{8A22A28B-1406-324B-B2F6-A4588EA4F112}" type="sibTrans" cxnId="{954778B4-8CF3-374F-A179-6BA23F4EE1E9}">
      <dgm:prSet/>
      <dgm:spPr/>
      <dgm:t>
        <a:bodyPr/>
        <a:lstStyle/>
        <a:p>
          <a:endParaRPr lang="en-US"/>
        </a:p>
      </dgm:t>
    </dgm:pt>
    <dgm:pt modelId="{6362AB93-98F2-8D4C-8B56-CF0B5251384A}">
      <dgm:prSet phldrT="[Text]" custT="1"/>
      <dgm:spPr/>
      <dgm:t>
        <a:bodyPr/>
        <a:lstStyle/>
        <a:p>
          <a:r>
            <a:rPr lang="en-US" sz="1100" dirty="0"/>
            <a:t>Mainly quantitative</a:t>
          </a:r>
        </a:p>
      </dgm:t>
    </dgm:pt>
    <dgm:pt modelId="{86391BB7-FF6F-694C-83E8-6C60A6C45E9F}" type="parTrans" cxnId="{0D4A1B0E-C7CF-124B-95F3-DF3102F025E2}">
      <dgm:prSet/>
      <dgm:spPr/>
      <dgm:t>
        <a:bodyPr/>
        <a:lstStyle/>
        <a:p>
          <a:endParaRPr lang="en-US"/>
        </a:p>
      </dgm:t>
    </dgm:pt>
    <dgm:pt modelId="{FE16D44F-57C5-9E4E-AD58-625C3C5CF1B0}" type="sibTrans" cxnId="{0D4A1B0E-C7CF-124B-95F3-DF3102F025E2}">
      <dgm:prSet/>
      <dgm:spPr/>
      <dgm:t>
        <a:bodyPr/>
        <a:lstStyle/>
        <a:p>
          <a:endParaRPr lang="en-US"/>
        </a:p>
      </dgm:t>
    </dgm:pt>
    <dgm:pt modelId="{582BA88A-67B9-AA45-B90D-54E00B9D8F6F}">
      <dgm:prSet phldrT="[Text]" custT="1"/>
      <dgm:spPr/>
      <dgm:t>
        <a:bodyPr/>
        <a:lstStyle/>
        <a:p>
          <a:r>
            <a:rPr lang="en-US" sz="1100" dirty="0"/>
            <a:t>Beyond compliance</a:t>
          </a:r>
        </a:p>
      </dgm:t>
    </dgm:pt>
    <dgm:pt modelId="{04C9F2F9-D6DA-7A40-92BF-B0A266EC6AF3}" type="parTrans" cxnId="{C86C0F96-9CF0-F048-827B-00EEAF06D508}">
      <dgm:prSet/>
      <dgm:spPr/>
      <dgm:t>
        <a:bodyPr/>
        <a:lstStyle/>
        <a:p>
          <a:endParaRPr lang="en-US"/>
        </a:p>
      </dgm:t>
    </dgm:pt>
    <dgm:pt modelId="{BD4F8315-603A-CD4C-A958-8F6F1243F5B4}" type="sibTrans" cxnId="{C86C0F96-9CF0-F048-827B-00EEAF06D508}">
      <dgm:prSet/>
      <dgm:spPr/>
      <dgm:t>
        <a:bodyPr/>
        <a:lstStyle/>
        <a:p>
          <a:endParaRPr lang="en-US"/>
        </a:p>
      </dgm:t>
    </dgm:pt>
    <dgm:pt modelId="{D6DD453E-1124-CA4D-A647-A037987D5374}">
      <dgm:prSet phldrT="[Text]" custT="1"/>
      <dgm:spPr/>
      <dgm:t>
        <a:bodyPr/>
        <a:lstStyle/>
        <a:p>
          <a:r>
            <a:rPr lang="en-US" sz="1100" dirty="0"/>
            <a:t>Inter-disciplinary</a:t>
          </a:r>
        </a:p>
      </dgm:t>
    </dgm:pt>
    <dgm:pt modelId="{A9434D4C-51AE-1044-8377-B5E9FAB30371}" type="parTrans" cxnId="{206F5661-4873-4E44-963D-8C23E6BC7D32}">
      <dgm:prSet/>
      <dgm:spPr/>
      <dgm:t>
        <a:bodyPr/>
        <a:lstStyle/>
        <a:p>
          <a:endParaRPr lang="en-US"/>
        </a:p>
      </dgm:t>
    </dgm:pt>
    <dgm:pt modelId="{1DE439DD-ECA6-424F-873B-6108960B5D1C}" type="sibTrans" cxnId="{206F5661-4873-4E44-963D-8C23E6BC7D32}">
      <dgm:prSet/>
      <dgm:spPr/>
      <dgm:t>
        <a:bodyPr/>
        <a:lstStyle/>
        <a:p>
          <a:endParaRPr lang="en-US"/>
        </a:p>
      </dgm:t>
    </dgm:pt>
    <dgm:pt modelId="{6A9AF3D5-9AC7-9F49-9B39-395202AAEDB4}">
      <dgm:prSet phldrT="[Text]" custT="1"/>
      <dgm:spPr>
        <a:solidFill>
          <a:srgbClr val="0000FF"/>
        </a:solidFill>
      </dgm:spPr>
      <dgm:t>
        <a:bodyPr/>
        <a:lstStyle/>
        <a:p>
          <a:r>
            <a:rPr lang="en-US" sz="1400" dirty="0"/>
            <a:t>Define ‘mitigation measures’ – Mitigation Hierarchy</a:t>
          </a:r>
        </a:p>
      </dgm:t>
    </dgm:pt>
    <dgm:pt modelId="{831DA511-D3E4-3F47-A860-1376438BACA9}" type="parTrans" cxnId="{700E114E-74A5-4B4F-B05A-B60A7F0CE46C}">
      <dgm:prSet/>
      <dgm:spPr/>
      <dgm:t>
        <a:bodyPr/>
        <a:lstStyle/>
        <a:p>
          <a:endParaRPr lang="en-US"/>
        </a:p>
      </dgm:t>
    </dgm:pt>
    <dgm:pt modelId="{50C2073B-2126-7945-9806-6A7C6F5256E1}" type="sibTrans" cxnId="{700E114E-74A5-4B4F-B05A-B60A7F0CE46C}">
      <dgm:prSet custT="1"/>
      <dgm:spPr/>
      <dgm:t>
        <a:bodyPr/>
        <a:lstStyle/>
        <a:p>
          <a:endParaRPr lang="en-US" sz="800"/>
        </a:p>
      </dgm:t>
    </dgm:pt>
    <dgm:pt modelId="{F646A167-1DE3-D947-907B-54DC7FDC752B}">
      <dgm:prSet phldrT="[Text]" custT="1"/>
      <dgm:spPr/>
      <dgm:t>
        <a:bodyPr/>
        <a:lstStyle/>
        <a:p>
          <a:r>
            <a:rPr lang="en-US" sz="1100" dirty="0"/>
            <a:t>Avoid, </a:t>
          </a:r>
          <a:r>
            <a:rPr lang="en-US" sz="1100" dirty="0" err="1"/>
            <a:t>minimise</a:t>
          </a:r>
          <a:r>
            <a:rPr lang="en-US" sz="1100" dirty="0"/>
            <a:t> impact</a:t>
          </a:r>
        </a:p>
      </dgm:t>
    </dgm:pt>
    <dgm:pt modelId="{9F23FE0D-EBC2-724E-8496-17A8C1FDC9D4}" type="parTrans" cxnId="{2A629D16-92AC-9945-9843-79F4F3A138BE}">
      <dgm:prSet/>
      <dgm:spPr/>
      <dgm:t>
        <a:bodyPr/>
        <a:lstStyle/>
        <a:p>
          <a:endParaRPr lang="en-US"/>
        </a:p>
      </dgm:t>
    </dgm:pt>
    <dgm:pt modelId="{40455F4C-38D9-104C-B0F1-824842749566}" type="sibTrans" cxnId="{2A629D16-92AC-9945-9843-79F4F3A138BE}">
      <dgm:prSet/>
      <dgm:spPr/>
      <dgm:t>
        <a:bodyPr/>
        <a:lstStyle/>
        <a:p>
          <a:endParaRPr lang="en-US"/>
        </a:p>
      </dgm:t>
    </dgm:pt>
    <dgm:pt modelId="{45ECA3F7-1057-E144-A0E3-0DC0750B9E9B}">
      <dgm:prSet phldrT="[Text]" custT="1"/>
      <dgm:spPr/>
      <dgm:t>
        <a:bodyPr/>
        <a:lstStyle/>
        <a:p>
          <a:r>
            <a:rPr lang="en-US" sz="1100" dirty="0"/>
            <a:t>Calculate residual impact</a:t>
          </a:r>
        </a:p>
      </dgm:t>
    </dgm:pt>
    <dgm:pt modelId="{518E7C3D-43BB-5048-ACFC-C753775EE3E7}" type="parTrans" cxnId="{1926B744-DECE-1F4D-8CAF-55F508680992}">
      <dgm:prSet/>
      <dgm:spPr/>
      <dgm:t>
        <a:bodyPr/>
        <a:lstStyle/>
        <a:p>
          <a:endParaRPr lang="en-US"/>
        </a:p>
      </dgm:t>
    </dgm:pt>
    <dgm:pt modelId="{0D44AE80-A36D-4E4E-90B3-03DEE0D40DD1}" type="sibTrans" cxnId="{1926B744-DECE-1F4D-8CAF-55F508680992}">
      <dgm:prSet/>
      <dgm:spPr/>
      <dgm:t>
        <a:bodyPr/>
        <a:lstStyle/>
        <a:p>
          <a:endParaRPr lang="en-US"/>
        </a:p>
      </dgm:t>
    </dgm:pt>
    <dgm:pt modelId="{E957177F-9F1C-D441-BD81-A4F04030C6FC}">
      <dgm:prSet phldrT="[Text]" custT="1"/>
      <dgm:spPr/>
      <dgm:t>
        <a:bodyPr/>
        <a:lstStyle/>
        <a:p>
          <a:r>
            <a:rPr lang="en-US" sz="1100" dirty="0" err="1"/>
            <a:t>Maximise</a:t>
          </a:r>
          <a:r>
            <a:rPr lang="en-US" sz="1100" dirty="0"/>
            <a:t> positive impacts</a:t>
          </a:r>
        </a:p>
      </dgm:t>
    </dgm:pt>
    <dgm:pt modelId="{04CB69E0-B000-A644-8501-F65CA3310DFE}" type="parTrans" cxnId="{588ADB72-BCA7-5B4C-9A88-83D8B3952275}">
      <dgm:prSet/>
      <dgm:spPr/>
      <dgm:t>
        <a:bodyPr/>
        <a:lstStyle/>
        <a:p>
          <a:endParaRPr lang="en-US"/>
        </a:p>
      </dgm:t>
    </dgm:pt>
    <dgm:pt modelId="{A78554CF-3A27-5448-8D12-403FE1C74B67}" type="sibTrans" cxnId="{588ADB72-BCA7-5B4C-9A88-83D8B3952275}">
      <dgm:prSet/>
      <dgm:spPr/>
      <dgm:t>
        <a:bodyPr/>
        <a:lstStyle/>
        <a:p>
          <a:endParaRPr lang="en-US"/>
        </a:p>
      </dgm:t>
    </dgm:pt>
    <dgm:pt modelId="{872FADFA-FE94-3D48-9663-4493019EF48E}">
      <dgm:prSet phldrT="[Text]" custT="1"/>
      <dgm:spPr>
        <a:solidFill>
          <a:srgbClr val="008000"/>
        </a:solidFill>
      </dgm:spPr>
      <dgm:t>
        <a:bodyPr/>
        <a:lstStyle/>
        <a:p>
          <a:r>
            <a:rPr lang="en-US" sz="1600" dirty="0"/>
            <a:t>Prepare Environmental Management Plan</a:t>
          </a:r>
        </a:p>
      </dgm:t>
    </dgm:pt>
    <dgm:pt modelId="{52D329B9-FE13-2649-9E5D-EF3195D9E25F}" type="parTrans" cxnId="{DCE1B648-E12F-0D48-B593-DE2C90E548FE}">
      <dgm:prSet/>
      <dgm:spPr/>
      <dgm:t>
        <a:bodyPr/>
        <a:lstStyle/>
        <a:p>
          <a:endParaRPr lang="en-US"/>
        </a:p>
      </dgm:t>
    </dgm:pt>
    <dgm:pt modelId="{271B1AE1-D862-494F-8120-A68950B6998A}" type="sibTrans" cxnId="{DCE1B648-E12F-0D48-B593-DE2C90E548FE}">
      <dgm:prSet custT="1"/>
      <dgm:spPr/>
      <dgm:t>
        <a:bodyPr/>
        <a:lstStyle/>
        <a:p>
          <a:endParaRPr lang="en-US" sz="800"/>
        </a:p>
      </dgm:t>
    </dgm:pt>
    <dgm:pt modelId="{96967F89-9645-5D4B-A35B-711D9354B5A7}">
      <dgm:prSet phldrT="[Text]" custT="1"/>
      <dgm:spPr>
        <a:solidFill>
          <a:srgbClr val="800000"/>
        </a:solidFill>
      </dgm:spPr>
      <dgm:t>
        <a:bodyPr/>
        <a:lstStyle/>
        <a:p>
          <a:r>
            <a:rPr lang="en-US" sz="1600" dirty="0"/>
            <a:t>Public enquiry</a:t>
          </a:r>
        </a:p>
      </dgm:t>
    </dgm:pt>
    <dgm:pt modelId="{3A1284E7-7E99-D34F-B995-9A268501FFDB}" type="parTrans" cxnId="{84EF24B7-87DD-AB4F-8454-8504B609B6CF}">
      <dgm:prSet/>
      <dgm:spPr/>
      <dgm:t>
        <a:bodyPr/>
        <a:lstStyle/>
        <a:p>
          <a:endParaRPr lang="en-US"/>
        </a:p>
      </dgm:t>
    </dgm:pt>
    <dgm:pt modelId="{4E747DA4-B085-D54D-A63C-601FDCF1F48F}" type="sibTrans" cxnId="{84EF24B7-87DD-AB4F-8454-8504B609B6CF}">
      <dgm:prSet custT="1"/>
      <dgm:spPr/>
      <dgm:t>
        <a:bodyPr/>
        <a:lstStyle/>
        <a:p>
          <a:endParaRPr lang="en-US" sz="800"/>
        </a:p>
      </dgm:t>
    </dgm:pt>
    <dgm:pt modelId="{587B8581-7BE1-1B44-A112-AC131354A689}">
      <dgm:prSet phldrT="[Text]" custT="1"/>
      <dgm:spPr/>
      <dgm:t>
        <a:bodyPr/>
        <a:lstStyle/>
        <a:p>
          <a:r>
            <a:rPr lang="en-US" sz="1000" dirty="0"/>
            <a:t>Formal, additional to other opportunities</a:t>
          </a:r>
        </a:p>
      </dgm:t>
    </dgm:pt>
    <dgm:pt modelId="{43398A36-AABD-D444-8075-2BDB0968E571}" type="parTrans" cxnId="{06F740F4-D049-C147-BEE0-2162D2BC3153}">
      <dgm:prSet/>
      <dgm:spPr/>
      <dgm:t>
        <a:bodyPr/>
        <a:lstStyle/>
        <a:p>
          <a:endParaRPr lang="en-US"/>
        </a:p>
      </dgm:t>
    </dgm:pt>
    <dgm:pt modelId="{636C7102-5055-904D-903D-EA6F64D77CBF}" type="sibTrans" cxnId="{06F740F4-D049-C147-BEE0-2162D2BC3153}">
      <dgm:prSet/>
      <dgm:spPr/>
      <dgm:t>
        <a:bodyPr/>
        <a:lstStyle/>
        <a:p>
          <a:endParaRPr lang="en-US"/>
        </a:p>
      </dgm:t>
    </dgm:pt>
    <dgm:pt modelId="{0FFDC491-AC7E-0F46-B922-BFECDFDDA715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600" dirty="0"/>
            <a:t>Decision</a:t>
          </a:r>
        </a:p>
      </dgm:t>
    </dgm:pt>
    <dgm:pt modelId="{89E7BD3E-29B2-304E-B687-D52221EB0BD7}" type="parTrans" cxnId="{6CD9040A-382E-8145-9C9F-500A6CE585E8}">
      <dgm:prSet/>
      <dgm:spPr/>
      <dgm:t>
        <a:bodyPr/>
        <a:lstStyle/>
        <a:p>
          <a:endParaRPr lang="en-US"/>
        </a:p>
      </dgm:t>
    </dgm:pt>
    <dgm:pt modelId="{56054D7F-24D7-A341-B375-921E53E7C13C}" type="sibTrans" cxnId="{6CD9040A-382E-8145-9C9F-500A6CE585E8}">
      <dgm:prSet custT="1"/>
      <dgm:spPr/>
      <dgm:t>
        <a:bodyPr/>
        <a:lstStyle/>
        <a:p>
          <a:endParaRPr lang="en-US" sz="800"/>
        </a:p>
      </dgm:t>
    </dgm:pt>
    <dgm:pt modelId="{5E0347FC-3D89-7944-A09F-569D03722F35}">
      <dgm:prSet phldrT="[Text]" custT="1"/>
      <dgm:spPr/>
      <dgm:t>
        <a:bodyPr/>
        <a:lstStyle/>
        <a:p>
          <a:r>
            <a:rPr lang="en-US" sz="1000" dirty="0"/>
            <a:t>Go</a:t>
          </a:r>
          <a:endParaRPr lang="en-US" sz="800" dirty="0"/>
        </a:p>
      </dgm:t>
    </dgm:pt>
    <dgm:pt modelId="{BAD0E326-432B-0A41-A625-454D8B1B848B}" type="parTrans" cxnId="{7F66FDE9-9806-D843-A427-0B5805C2A9D2}">
      <dgm:prSet/>
      <dgm:spPr/>
      <dgm:t>
        <a:bodyPr/>
        <a:lstStyle/>
        <a:p>
          <a:endParaRPr lang="en-US"/>
        </a:p>
      </dgm:t>
    </dgm:pt>
    <dgm:pt modelId="{AE729042-0F90-B145-823D-4557B401F4AF}" type="sibTrans" cxnId="{7F66FDE9-9806-D843-A427-0B5805C2A9D2}">
      <dgm:prSet/>
      <dgm:spPr/>
      <dgm:t>
        <a:bodyPr/>
        <a:lstStyle/>
        <a:p>
          <a:endParaRPr lang="en-US"/>
        </a:p>
      </dgm:t>
    </dgm:pt>
    <dgm:pt modelId="{A29FDACB-B29C-2045-991A-3037F046F9F4}">
      <dgm:prSet phldrT="[Text]" custT="1"/>
      <dgm:spPr/>
      <dgm:t>
        <a:bodyPr/>
        <a:lstStyle/>
        <a:p>
          <a:r>
            <a:rPr lang="en-US" sz="1000" dirty="0"/>
            <a:t>Monitoring</a:t>
          </a:r>
        </a:p>
      </dgm:t>
    </dgm:pt>
    <dgm:pt modelId="{5EB52393-BB09-784B-9CC6-FDF10C5C8297}" type="parTrans" cxnId="{666F287B-2040-5549-9CE8-60433DBEB74F}">
      <dgm:prSet/>
      <dgm:spPr/>
      <dgm:t>
        <a:bodyPr/>
        <a:lstStyle/>
        <a:p>
          <a:endParaRPr lang="en-US"/>
        </a:p>
      </dgm:t>
    </dgm:pt>
    <dgm:pt modelId="{0456634C-86B5-EC46-B716-F8E1E505A282}" type="sibTrans" cxnId="{666F287B-2040-5549-9CE8-60433DBEB74F}">
      <dgm:prSet/>
      <dgm:spPr/>
      <dgm:t>
        <a:bodyPr/>
        <a:lstStyle/>
        <a:p>
          <a:endParaRPr lang="en-US"/>
        </a:p>
      </dgm:t>
    </dgm:pt>
    <dgm:pt modelId="{816D0E4B-D040-BA49-A504-F6698C379E17}">
      <dgm:prSet phldrT="[Text]" custT="1"/>
      <dgm:spPr/>
      <dgm:t>
        <a:bodyPr/>
        <a:lstStyle/>
        <a:p>
          <a:r>
            <a:rPr lang="en-US" sz="1000" dirty="0"/>
            <a:t>Control and verification</a:t>
          </a:r>
        </a:p>
      </dgm:t>
    </dgm:pt>
    <dgm:pt modelId="{23C54F92-F871-3140-AE49-5D3FD7231E4A}" type="parTrans" cxnId="{5514683D-0514-D249-A77F-B1D69A832629}">
      <dgm:prSet/>
      <dgm:spPr/>
      <dgm:t>
        <a:bodyPr/>
        <a:lstStyle/>
        <a:p>
          <a:endParaRPr lang="en-US"/>
        </a:p>
      </dgm:t>
    </dgm:pt>
    <dgm:pt modelId="{F94E9AD0-3411-BD4E-9F83-2BA552E93C90}" type="sibTrans" cxnId="{5514683D-0514-D249-A77F-B1D69A832629}">
      <dgm:prSet/>
      <dgm:spPr/>
      <dgm:t>
        <a:bodyPr/>
        <a:lstStyle/>
        <a:p>
          <a:endParaRPr lang="en-US"/>
        </a:p>
      </dgm:t>
    </dgm:pt>
    <dgm:pt modelId="{3FEA01AE-BFAF-CA48-8D1C-CF948C006C22}">
      <dgm:prSet phldrT="[Text]" custT="1"/>
      <dgm:spPr/>
      <dgm:t>
        <a:bodyPr/>
        <a:lstStyle/>
        <a:p>
          <a:r>
            <a:rPr lang="en-US" sz="1050" dirty="0"/>
            <a:t>Key aspects, methodologies, approach</a:t>
          </a:r>
        </a:p>
      </dgm:t>
    </dgm:pt>
    <dgm:pt modelId="{1EE1E48D-BAB7-7946-A9DC-D14BFA8FBFDE}" type="parTrans" cxnId="{BACBA064-47C7-B44B-A721-2D38B6428E94}">
      <dgm:prSet/>
      <dgm:spPr/>
      <dgm:t>
        <a:bodyPr/>
        <a:lstStyle/>
        <a:p>
          <a:endParaRPr lang="en-US"/>
        </a:p>
      </dgm:t>
    </dgm:pt>
    <dgm:pt modelId="{A3A6F149-1F95-C649-B6A6-AA8E6D74B94B}" type="sibTrans" cxnId="{BACBA064-47C7-B44B-A721-2D38B6428E94}">
      <dgm:prSet/>
      <dgm:spPr/>
      <dgm:t>
        <a:bodyPr/>
        <a:lstStyle/>
        <a:p>
          <a:endParaRPr lang="en-US"/>
        </a:p>
      </dgm:t>
    </dgm:pt>
    <dgm:pt modelId="{3B97EDA7-2112-DA4D-AA72-44137688527F}">
      <dgm:prSet phldrT="[Text]" custT="1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US" sz="1600" dirty="0"/>
            <a:t>Implementation / follow-up of EMP</a:t>
          </a:r>
          <a:endParaRPr lang="en-US" sz="800" dirty="0"/>
        </a:p>
      </dgm:t>
    </dgm:pt>
    <dgm:pt modelId="{378FE483-4049-794E-8E70-0FDE15F841F8}" type="parTrans" cxnId="{4DD816C1-85CF-364C-A3BF-55F404A39BAE}">
      <dgm:prSet/>
      <dgm:spPr/>
      <dgm:t>
        <a:bodyPr/>
        <a:lstStyle/>
        <a:p>
          <a:endParaRPr lang="en-US"/>
        </a:p>
      </dgm:t>
    </dgm:pt>
    <dgm:pt modelId="{5BF818D7-834C-F94A-A3F4-09641A32A2EB}" type="sibTrans" cxnId="{4DD816C1-85CF-364C-A3BF-55F404A39BAE}">
      <dgm:prSet/>
      <dgm:spPr/>
      <dgm:t>
        <a:bodyPr/>
        <a:lstStyle/>
        <a:p>
          <a:endParaRPr lang="en-US"/>
        </a:p>
      </dgm:t>
    </dgm:pt>
    <dgm:pt modelId="{5C6E01D9-9FEF-164D-9EB1-952169267999}">
      <dgm:prSet phldrT="[Text]" custT="1"/>
      <dgm:spPr/>
      <dgm:t>
        <a:bodyPr/>
        <a:lstStyle/>
        <a:p>
          <a:r>
            <a:rPr lang="en-US" sz="1000" dirty="0"/>
            <a:t>No-go</a:t>
          </a:r>
        </a:p>
      </dgm:t>
    </dgm:pt>
    <dgm:pt modelId="{3CD6E540-237A-A44F-8F80-6EE70604ADA9}" type="parTrans" cxnId="{3DB30ECD-F589-274C-BFD6-3408B049C8BE}">
      <dgm:prSet/>
      <dgm:spPr/>
      <dgm:t>
        <a:bodyPr/>
        <a:lstStyle/>
        <a:p>
          <a:endParaRPr lang="en-US"/>
        </a:p>
      </dgm:t>
    </dgm:pt>
    <dgm:pt modelId="{9283F457-55FA-814B-B0A3-6ACFEE18AF88}" type="sibTrans" cxnId="{3DB30ECD-F589-274C-BFD6-3408B049C8BE}">
      <dgm:prSet/>
      <dgm:spPr/>
      <dgm:t>
        <a:bodyPr/>
        <a:lstStyle/>
        <a:p>
          <a:endParaRPr lang="en-US"/>
        </a:p>
      </dgm:t>
    </dgm:pt>
    <dgm:pt modelId="{85C3C318-67DD-E54E-A959-8599D6AA291D}">
      <dgm:prSet phldrT="[Text]" custT="1"/>
      <dgm:spPr/>
      <dgm:t>
        <a:bodyPr/>
        <a:lstStyle/>
        <a:p>
          <a:r>
            <a:rPr lang="en-US" sz="1000" dirty="0"/>
            <a:t>Conditional</a:t>
          </a:r>
        </a:p>
      </dgm:t>
    </dgm:pt>
    <dgm:pt modelId="{EC1F1FE4-3DB6-874A-A36F-7A0A10E29A7B}" type="parTrans" cxnId="{269CEE36-959E-BA46-9C2B-2B4BEDE1C895}">
      <dgm:prSet/>
      <dgm:spPr/>
      <dgm:t>
        <a:bodyPr/>
        <a:lstStyle/>
        <a:p>
          <a:endParaRPr lang="en-US"/>
        </a:p>
      </dgm:t>
    </dgm:pt>
    <dgm:pt modelId="{8F5D765D-DFAD-7F47-9F64-4CB180B4FDDF}" type="sibTrans" cxnId="{269CEE36-959E-BA46-9C2B-2B4BEDE1C895}">
      <dgm:prSet/>
      <dgm:spPr/>
      <dgm:t>
        <a:bodyPr/>
        <a:lstStyle/>
        <a:p>
          <a:endParaRPr lang="en-US"/>
        </a:p>
      </dgm:t>
    </dgm:pt>
    <dgm:pt modelId="{51691405-674C-D747-805D-834EF113E179}" type="pres">
      <dgm:prSet presAssocID="{61412936-E439-2548-A791-149E80BF1DF0}" presName="Name0" presStyleCnt="0">
        <dgm:presLayoutVars>
          <dgm:dir/>
          <dgm:animLvl val="lvl"/>
          <dgm:resizeHandles val="exact"/>
        </dgm:presLayoutVars>
      </dgm:prSet>
      <dgm:spPr/>
    </dgm:pt>
    <dgm:pt modelId="{4BA4933A-A35F-514B-8FDD-4DEFD95D4499}" type="pres">
      <dgm:prSet presAssocID="{3B97EDA7-2112-DA4D-AA72-44137688527F}" presName="boxAndChildren" presStyleCnt="0"/>
      <dgm:spPr/>
    </dgm:pt>
    <dgm:pt modelId="{59A5B195-5B87-5D43-96EE-8E3784D35134}" type="pres">
      <dgm:prSet presAssocID="{3B97EDA7-2112-DA4D-AA72-44137688527F}" presName="parentTextBox" presStyleLbl="node1" presStyleIdx="0" presStyleCnt="8"/>
      <dgm:spPr/>
    </dgm:pt>
    <dgm:pt modelId="{78A6839D-6DD4-3243-AE87-317639DC4272}" type="pres">
      <dgm:prSet presAssocID="{3B97EDA7-2112-DA4D-AA72-44137688527F}" presName="entireBox" presStyleLbl="node1" presStyleIdx="0" presStyleCnt="8"/>
      <dgm:spPr/>
    </dgm:pt>
    <dgm:pt modelId="{8904A70D-3A55-E445-A73D-56A52879627A}" type="pres">
      <dgm:prSet presAssocID="{3B97EDA7-2112-DA4D-AA72-44137688527F}" presName="descendantBox" presStyleCnt="0"/>
      <dgm:spPr/>
    </dgm:pt>
    <dgm:pt modelId="{8F0F5D6C-27F2-1F46-B617-FB057A25C80B}" type="pres">
      <dgm:prSet presAssocID="{A29FDACB-B29C-2045-991A-3037F046F9F4}" presName="childTextBox" presStyleLbl="fgAccFollowNode1" presStyleIdx="0" presStyleCnt="17">
        <dgm:presLayoutVars>
          <dgm:bulletEnabled val="1"/>
        </dgm:presLayoutVars>
      </dgm:prSet>
      <dgm:spPr/>
    </dgm:pt>
    <dgm:pt modelId="{20842FEC-359B-814F-82A8-C9B3A45B30BF}" type="pres">
      <dgm:prSet presAssocID="{816D0E4B-D040-BA49-A504-F6698C379E17}" presName="childTextBox" presStyleLbl="fgAccFollowNode1" presStyleIdx="1" presStyleCnt="17">
        <dgm:presLayoutVars>
          <dgm:bulletEnabled val="1"/>
        </dgm:presLayoutVars>
      </dgm:prSet>
      <dgm:spPr/>
    </dgm:pt>
    <dgm:pt modelId="{76FFD05E-EC84-574A-9ADE-F5FC335FB28B}" type="pres">
      <dgm:prSet presAssocID="{56054D7F-24D7-A341-B375-921E53E7C13C}" presName="sp" presStyleCnt="0"/>
      <dgm:spPr/>
    </dgm:pt>
    <dgm:pt modelId="{037CE4F3-1AFC-E149-9045-610332274611}" type="pres">
      <dgm:prSet presAssocID="{0FFDC491-AC7E-0F46-B922-BFECDFDDA715}" presName="arrowAndChildren" presStyleCnt="0"/>
      <dgm:spPr/>
    </dgm:pt>
    <dgm:pt modelId="{DD65E5C0-4354-BB43-BE1A-D83779B69E9B}" type="pres">
      <dgm:prSet presAssocID="{0FFDC491-AC7E-0F46-B922-BFECDFDDA715}" presName="parentTextArrow" presStyleLbl="node1" presStyleIdx="0" presStyleCnt="8"/>
      <dgm:spPr/>
    </dgm:pt>
    <dgm:pt modelId="{C6928878-06A8-C845-9EBD-3504EEF9CE2F}" type="pres">
      <dgm:prSet presAssocID="{0FFDC491-AC7E-0F46-B922-BFECDFDDA715}" presName="arrow" presStyleLbl="node1" presStyleIdx="1" presStyleCnt="8"/>
      <dgm:spPr/>
    </dgm:pt>
    <dgm:pt modelId="{2C5F72EF-F146-9A48-973C-971E7942804C}" type="pres">
      <dgm:prSet presAssocID="{0FFDC491-AC7E-0F46-B922-BFECDFDDA715}" presName="descendantArrow" presStyleCnt="0"/>
      <dgm:spPr/>
    </dgm:pt>
    <dgm:pt modelId="{3D365CFB-AD59-1F40-A9A2-2ADFFA1B7871}" type="pres">
      <dgm:prSet presAssocID="{5E0347FC-3D89-7944-A09F-569D03722F35}" presName="childTextArrow" presStyleLbl="fgAccFollowNode1" presStyleIdx="2" presStyleCnt="17">
        <dgm:presLayoutVars>
          <dgm:bulletEnabled val="1"/>
        </dgm:presLayoutVars>
      </dgm:prSet>
      <dgm:spPr/>
    </dgm:pt>
    <dgm:pt modelId="{929A7DA9-0F08-4F47-A3D1-EBF80FFD86CC}" type="pres">
      <dgm:prSet presAssocID="{5C6E01D9-9FEF-164D-9EB1-952169267999}" presName="childTextArrow" presStyleLbl="fgAccFollowNode1" presStyleIdx="3" presStyleCnt="17">
        <dgm:presLayoutVars>
          <dgm:bulletEnabled val="1"/>
        </dgm:presLayoutVars>
      </dgm:prSet>
      <dgm:spPr/>
    </dgm:pt>
    <dgm:pt modelId="{30DB217F-AC4A-5E4B-B109-B36333F7B56A}" type="pres">
      <dgm:prSet presAssocID="{85C3C318-67DD-E54E-A959-8599D6AA291D}" presName="childTextArrow" presStyleLbl="fgAccFollowNode1" presStyleIdx="4" presStyleCnt="17">
        <dgm:presLayoutVars>
          <dgm:bulletEnabled val="1"/>
        </dgm:presLayoutVars>
      </dgm:prSet>
      <dgm:spPr/>
    </dgm:pt>
    <dgm:pt modelId="{AB7C7CF1-09F4-0D45-AF0C-2E6260596E14}" type="pres">
      <dgm:prSet presAssocID="{4E747DA4-B085-D54D-A63C-601FDCF1F48F}" presName="sp" presStyleCnt="0"/>
      <dgm:spPr/>
    </dgm:pt>
    <dgm:pt modelId="{ADEE4E08-6C86-D64A-BC6D-065C99F7A97E}" type="pres">
      <dgm:prSet presAssocID="{96967F89-9645-5D4B-A35B-711D9354B5A7}" presName="arrowAndChildren" presStyleCnt="0"/>
      <dgm:spPr/>
    </dgm:pt>
    <dgm:pt modelId="{46974321-FF4D-9245-B377-8D0DFA8DF37C}" type="pres">
      <dgm:prSet presAssocID="{96967F89-9645-5D4B-A35B-711D9354B5A7}" presName="parentTextArrow" presStyleLbl="node1" presStyleIdx="1" presStyleCnt="8"/>
      <dgm:spPr/>
    </dgm:pt>
    <dgm:pt modelId="{1D671F70-F47A-9E43-8753-1519F582BEFE}" type="pres">
      <dgm:prSet presAssocID="{96967F89-9645-5D4B-A35B-711D9354B5A7}" presName="arrow" presStyleLbl="node1" presStyleIdx="2" presStyleCnt="8"/>
      <dgm:spPr/>
    </dgm:pt>
    <dgm:pt modelId="{E3BCA8FA-0453-B14F-ABE1-C35324427FFD}" type="pres">
      <dgm:prSet presAssocID="{96967F89-9645-5D4B-A35B-711D9354B5A7}" presName="descendantArrow" presStyleCnt="0"/>
      <dgm:spPr/>
    </dgm:pt>
    <dgm:pt modelId="{484B9156-2AC9-FC44-83D5-C402A1AF9196}" type="pres">
      <dgm:prSet presAssocID="{587B8581-7BE1-1B44-A112-AC131354A689}" presName="childTextArrow" presStyleLbl="fgAccFollowNode1" presStyleIdx="5" presStyleCnt="17">
        <dgm:presLayoutVars>
          <dgm:bulletEnabled val="1"/>
        </dgm:presLayoutVars>
      </dgm:prSet>
      <dgm:spPr/>
    </dgm:pt>
    <dgm:pt modelId="{9C706876-0BFB-994D-99E6-1B18C5DC8B8C}" type="pres">
      <dgm:prSet presAssocID="{271B1AE1-D862-494F-8120-A68950B6998A}" presName="sp" presStyleCnt="0"/>
      <dgm:spPr/>
    </dgm:pt>
    <dgm:pt modelId="{FBD779F0-3EF9-2844-AD1B-250CEEE81C65}" type="pres">
      <dgm:prSet presAssocID="{872FADFA-FE94-3D48-9663-4493019EF48E}" presName="arrowAndChildren" presStyleCnt="0"/>
      <dgm:spPr/>
    </dgm:pt>
    <dgm:pt modelId="{C343E33E-6E01-F74C-8D27-33C3279D6494}" type="pres">
      <dgm:prSet presAssocID="{872FADFA-FE94-3D48-9663-4493019EF48E}" presName="parentTextArrow" presStyleLbl="node1" presStyleIdx="3" presStyleCnt="8"/>
      <dgm:spPr/>
    </dgm:pt>
    <dgm:pt modelId="{18DFB4C1-BF9A-A240-83E0-3161A051668B}" type="pres">
      <dgm:prSet presAssocID="{50C2073B-2126-7945-9806-6A7C6F5256E1}" presName="sp" presStyleCnt="0"/>
      <dgm:spPr/>
    </dgm:pt>
    <dgm:pt modelId="{5D4D8D58-64D2-CD4A-9B48-A615872CC727}" type="pres">
      <dgm:prSet presAssocID="{6A9AF3D5-9AC7-9F49-9B39-395202AAEDB4}" presName="arrowAndChildren" presStyleCnt="0"/>
      <dgm:spPr/>
    </dgm:pt>
    <dgm:pt modelId="{FA2D9E87-EB70-BE4B-B26C-162BEEA90D17}" type="pres">
      <dgm:prSet presAssocID="{6A9AF3D5-9AC7-9F49-9B39-395202AAEDB4}" presName="parentTextArrow" presStyleLbl="node1" presStyleIdx="3" presStyleCnt="8"/>
      <dgm:spPr/>
    </dgm:pt>
    <dgm:pt modelId="{B197DBB4-0173-5841-8F2A-668940FCF6C3}" type="pres">
      <dgm:prSet presAssocID="{6A9AF3D5-9AC7-9F49-9B39-395202AAEDB4}" presName="arrow" presStyleLbl="node1" presStyleIdx="4" presStyleCnt="8"/>
      <dgm:spPr/>
    </dgm:pt>
    <dgm:pt modelId="{0F81646B-C86D-B14F-9959-9A6123F8E4E7}" type="pres">
      <dgm:prSet presAssocID="{6A9AF3D5-9AC7-9F49-9B39-395202AAEDB4}" presName="descendantArrow" presStyleCnt="0"/>
      <dgm:spPr/>
    </dgm:pt>
    <dgm:pt modelId="{6C7B369C-C6E1-AE42-8255-5EE272C685D0}" type="pres">
      <dgm:prSet presAssocID="{F646A167-1DE3-D947-907B-54DC7FDC752B}" presName="childTextArrow" presStyleLbl="fgAccFollowNode1" presStyleIdx="6" presStyleCnt="17">
        <dgm:presLayoutVars>
          <dgm:bulletEnabled val="1"/>
        </dgm:presLayoutVars>
      </dgm:prSet>
      <dgm:spPr/>
    </dgm:pt>
    <dgm:pt modelId="{CBD26F9A-653E-A14F-BBAC-7C3AE11FFF99}" type="pres">
      <dgm:prSet presAssocID="{45ECA3F7-1057-E144-A0E3-0DC0750B9E9B}" presName="childTextArrow" presStyleLbl="fgAccFollowNode1" presStyleIdx="7" presStyleCnt="17">
        <dgm:presLayoutVars>
          <dgm:bulletEnabled val="1"/>
        </dgm:presLayoutVars>
      </dgm:prSet>
      <dgm:spPr/>
    </dgm:pt>
    <dgm:pt modelId="{1ED07746-6F52-734F-BB8B-691E19F1D5A5}" type="pres">
      <dgm:prSet presAssocID="{E957177F-9F1C-D441-BD81-A4F04030C6FC}" presName="childTextArrow" presStyleLbl="fgAccFollowNode1" presStyleIdx="8" presStyleCnt="17">
        <dgm:presLayoutVars>
          <dgm:bulletEnabled val="1"/>
        </dgm:presLayoutVars>
      </dgm:prSet>
      <dgm:spPr/>
    </dgm:pt>
    <dgm:pt modelId="{890D9AAD-0EF4-FF4E-9049-BBF81FC1B53B}" type="pres">
      <dgm:prSet presAssocID="{B5813D5F-956B-3B49-993E-380117462CF3}" presName="sp" presStyleCnt="0"/>
      <dgm:spPr/>
    </dgm:pt>
    <dgm:pt modelId="{018DD473-1C66-4349-9186-275FD096FB0E}" type="pres">
      <dgm:prSet presAssocID="{C66E5115-03DC-9E48-BA0B-EAD563C490F2}" presName="arrowAndChildren" presStyleCnt="0"/>
      <dgm:spPr/>
    </dgm:pt>
    <dgm:pt modelId="{930BBFF7-1036-0F4F-ABD4-49E14A22269D}" type="pres">
      <dgm:prSet presAssocID="{C66E5115-03DC-9E48-BA0B-EAD563C490F2}" presName="parentTextArrow" presStyleLbl="node1" presStyleIdx="4" presStyleCnt="8"/>
      <dgm:spPr/>
    </dgm:pt>
    <dgm:pt modelId="{B37BE584-E26E-8B45-AA07-821E16BD947E}" type="pres">
      <dgm:prSet presAssocID="{C66E5115-03DC-9E48-BA0B-EAD563C490F2}" presName="arrow" presStyleLbl="node1" presStyleIdx="5" presStyleCnt="8"/>
      <dgm:spPr/>
    </dgm:pt>
    <dgm:pt modelId="{FE859689-7D7B-5141-A1E5-CC36B0B1946D}" type="pres">
      <dgm:prSet presAssocID="{C66E5115-03DC-9E48-BA0B-EAD563C490F2}" presName="descendantArrow" presStyleCnt="0"/>
      <dgm:spPr/>
    </dgm:pt>
    <dgm:pt modelId="{1123349A-CA5D-0D49-B80C-B1924FA39D56}" type="pres">
      <dgm:prSet presAssocID="{83CCDC10-CDC6-FB4F-B755-9D5B45C0BD33}" presName="childTextArrow" presStyleLbl="fgAccFollowNode1" presStyleIdx="9" presStyleCnt="17">
        <dgm:presLayoutVars>
          <dgm:bulletEnabled val="1"/>
        </dgm:presLayoutVars>
      </dgm:prSet>
      <dgm:spPr/>
    </dgm:pt>
    <dgm:pt modelId="{46AABC43-51D3-564C-B8C6-F8C89BA87845}" type="pres">
      <dgm:prSet presAssocID="{6362AB93-98F2-8D4C-8B56-CF0B5251384A}" presName="childTextArrow" presStyleLbl="fgAccFollowNode1" presStyleIdx="10" presStyleCnt="17">
        <dgm:presLayoutVars>
          <dgm:bulletEnabled val="1"/>
        </dgm:presLayoutVars>
      </dgm:prSet>
      <dgm:spPr/>
    </dgm:pt>
    <dgm:pt modelId="{295BF8BC-56BC-514C-ADA8-94BDA8BFA593}" type="pres">
      <dgm:prSet presAssocID="{582BA88A-67B9-AA45-B90D-54E00B9D8F6F}" presName="childTextArrow" presStyleLbl="fgAccFollowNode1" presStyleIdx="11" presStyleCnt="17">
        <dgm:presLayoutVars>
          <dgm:bulletEnabled val="1"/>
        </dgm:presLayoutVars>
      </dgm:prSet>
      <dgm:spPr/>
    </dgm:pt>
    <dgm:pt modelId="{7E41F922-4CDB-C543-B803-B285A3E58A03}" type="pres">
      <dgm:prSet presAssocID="{D6DD453E-1124-CA4D-A647-A037987D5374}" presName="childTextArrow" presStyleLbl="fgAccFollowNode1" presStyleIdx="12" presStyleCnt="17">
        <dgm:presLayoutVars>
          <dgm:bulletEnabled val="1"/>
        </dgm:presLayoutVars>
      </dgm:prSet>
      <dgm:spPr/>
    </dgm:pt>
    <dgm:pt modelId="{263E1C40-E9D3-DE4C-A343-EC370F5F60A6}" type="pres">
      <dgm:prSet presAssocID="{6C050513-9CC4-FD40-BC31-1D2C1A1BE33E}" presName="sp" presStyleCnt="0"/>
      <dgm:spPr/>
    </dgm:pt>
    <dgm:pt modelId="{CCC928DA-5C85-A74F-8FBC-7511B0CFC3A6}" type="pres">
      <dgm:prSet presAssocID="{2F3AE28C-5484-4B49-8922-A4B8CEBA3A2A}" presName="arrowAndChildren" presStyleCnt="0"/>
      <dgm:spPr/>
    </dgm:pt>
    <dgm:pt modelId="{3FC639F4-4F24-9C47-B7B7-7F9CBD86CFB8}" type="pres">
      <dgm:prSet presAssocID="{2F3AE28C-5484-4B49-8922-A4B8CEBA3A2A}" presName="parentTextArrow" presStyleLbl="node1" presStyleIdx="5" presStyleCnt="8"/>
      <dgm:spPr/>
    </dgm:pt>
    <dgm:pt modelId="{20CCC6B3-3F1F-5348-9960-111E2B4FCB75}" type="pres">
      <dgm:prSet presAssocID="{2F3AE28C-5484-4B49-8922-A4B8CEBA3A2A}" presName="arrow" presStyleLbl="node1" presStyleIdx="6" presStyleCnt="8"/>
      <dgm:spPr/>
    </dgm:pt>
    <dgm:pt modelId="{E22E14B1-D6CE-4846-B0E0-B6FD597476B1}" type="pres">
      <dgm:prSet presAssocID="{2F3AE28C-5484-4B49-8922-A4B8CEBA3A2A}" presName="descendantArrow" presStyleCnt="0"/>
      <dgm:spPr/>
    </dgm:pt>
    <dgm:pt modelId="{A2D7C47A-110A-AF46-889C-3C2D0CC5AF80}" type="pres">
      <dgm:prSet presAssocID="{6BC8B892-CB87-194E-AE73-6E5D0AAE4395}" presName="childTextArrow" presStyleLbl="fgAccFollowNode1" presStyleIdx="13" presStyleCnt="17">
        <dgm:presLayoutVars>
          <dgm:bulletEnabled val="1"/>
        </dgm:presLayoutVars>
      </dgm:prSet>
      <dgm:spPr/>
    </dgm:pt>
    <dgm:pt modelId="{620D1D9C-9634-4D4B-803D-F69EA69AEE0B}" type="pres">
      <dgm:prSet presAssocID="{3FEA01AE-BFAF-CA48-8D1C-CF948C006C22}" presName="childTextArrow" presStyleLbl="fgAccFollowNode1" presStyleIdx="14" presStyleCnt="17">
        <dgm:presLayoutVars>
          <dgm:bulletEnabled val="1"/>
        </dgm:presLayoutVars>
      </dgm:prSet>
      <dgm:spPr/>
    </dgm:pt>
    <dgm:pt modelId="{352579EC-5268-504E-A960-15BCA795B08C}" type="pres">
      <dgm:prSet presAssocID="{1DC6A36E-BE86-FB4E-A37B-7796A26B230F}" presName="sp" presStyleCnt="0"/>
      <dgm:spPr/>
    </dgm:pt>
    <dgm:pt modelId="{D8FEA1B1-311C-C24B-BA69-E9BE513790FF}" type="pres">
      <dgm:prSet presAssocID="{D511F5CC-B854-F04E-B120-8E0167633E56}" presName="arrowAndChildren" presStyleCnt="0"/>
      <dgm:spPr/>
    </dgm:pt>
    <dgm:pt modelId="{D3B1760F-1532-2B45-A0A2-893C1CC79CEA}" type="pres">
      <dgm:prSet presAssocID="{D511F5CC-B854-F04E-B120-8E0167633E56}" presName="parentTextArrow" presStyleLbl="node1" presStyleIdx="6" presStyleCnt="8"/>
      <dgm:spPr/>
    </dgm:pt>
    <dgm:pt modelId="{3052162C-13DE-1045-BE37-6D0FFFAE9EC7}" type="pres">
      <dgm:prSet presAssocID="{D511F5CC-B854-F04E-B120-8E0167633E56}" presName="arrow" presStyleLbl="node1" presStyleIdx="7" presStyleCnt="8"/>
      <dgm:spPr/>
    </dgm:pt>
    <dgm:pt modelId="{0873E4E7-CE28-0241-966E-A2600C472E23}" type="pres">
      <dgm:prSet presAssocID="{D511F5CC-B854-F04E-B120-8E0167633E56}" presName="descendantArrow" presStyleCnt="0"/>
      <dgm:spPr/>
    </dgm:pt>
    <dgm:pt modelId="{D7CC7479-EBE9-CD4E-ACE8-F5D891CC4955}" type="pres">
      <dgm:prSet presAssocID="{32DB8FBE-072F-914C-BAD1-687B45EE621D}" presName="childTextArrow" presStyleLbl="fgAccFollowNode1" presStyleIdx="15" presStyleCnt="17">
        <dgm:presLayoutVars>
          <dgm:bulletEnabled val="1"/>
        </dgm:presLayoutVars>
      </dgm:prSet>
      <dgm:spPr/>
    </dgm:pt>
    <dgm:pt modelId="{4232857B-23E5-EF46-9376-A8D3FCF943FA}" type="pres">
      <dgm:prSet presAssocID="{59276230-0F08-294D-BC1E-45EF7F2C1DD1}" presName="childTextArrow" presStyleLbl="fgAccFollowNode1" presStyleIdx="16" presStyleCnt="17">
        <dgm:presLayoutVars>
          <dgm:bulletEnabled val="1"/>
        </dgm:presLayoutVars>
      </dgm:prSet>
      <dgm:spPr/>
    </dgm:pt>
  </dgm:ptLst>
  <dgm:cxnLst>
    <dgm:cxn modelId="{CD81A701-C2C6-8348-B967-FF8F41F05625}" type="presOf" srcId="{816D0E4B-D040-BA49-A504-F6698C379E17}" destId="{20842FEC-359B-814F-82A8-C9B3A45B30BF}" srcOrd="0" destOrd="0" presId="urn:microsoft.com/office/officeart/2005/8/layout/process4"/>
    <dgm:cxn modelId="{E538B505-258E-A649-AE8D-9DC6CF1A73FC}" type="presOf" srcId="{872FADFA-FE94-3D48-9663-4493019EF48E}" destId="{C343E33E-6E01-F74C-8D27-33C3279D6494}" srcOrd="0" destOrd="0" presId="urn:microsoft.com/office/officeart/2005/8/layout/process4"/>
    <dgm:cxn modelId="{D297B007-6BFC-5848-A792-1571EA6D1724}" srcId="{2F3AE28C-5484-4B49-8922-A4B8CEBA3A2A}" destId="{6BC8B892-CB87-194E-AE73-6E5D0AAE4395}" srcOrd="0" destOrd="0" parTransId="{97FE870C-13CD-EF4A-B01E-F49872EFCED4}" sibTransId="{CA77B2A1-2407-A347-8BAC-9157EA56F003}"/>
    <dgm:cxn modelId="{6CD9040A-382E-8145-9C9F-500A6CE585E8}" srcId="{61412936-E439-2548-A791-149E80BF1DF0}" destId="{0FFDC491-AC7E-0F46-B922-BFECDFDDA715}" srcOrd="6" destOrd="0" parTransId="{89E7BD3E-29B2-304E-B687-D52221EB0BD7}" sibTransId="{56054D7F-24D7-A341-B375-921E53E7C13C}"/>
    <dgm:cxn modelId="{0D4A1B0E-C7CF-124B-95F3-DF3102F025E2}" srcId="{C66E5115-03DC-9E48-BA0B-EAD563C490F2}" destId="{6362AB93-98F2-8D4C-8B56-CF0B5251384A}" srcOrd="1" destOrd="0" parTransId="{86391BB7-FF6F-694C-83E8-6C60A6C45E9F}" sibTransId="{FE16D44F-57C5-9E4E-AD58-625C3C5CF1B0}"/>
    <dgm:cxn modelId="{84F0ED10-5785-B949-B814-ADCC8A06881A}" srcId="{D511F5CC-B854-F04E-B120-8E0167633E56}" destId="{32DB8FBE-072F-914C-BAD1-687B45EE621D}" srcOrd="0" destOrd="0" parTransId="{C838977F-EC31-0044-9842-6686C0CFDE3D}" sibTransId="{CE19F2C5-B845-7343-AF18-09602A56C0AD}"/>
    <dgm:cxn modelId="{2A629D16-92AC-9945-9843-79F4F3A138BE}" srcId="{6A9AF3D5-9AC7-9F49-9B39-395202AAEDB4}" destId="{F646A167-1DE3-D947-907B-54DC7FDC752B}" srcOrd="0" destOrd="0" parTransId="{9F23FE0D-EBC2-724E-8496-17A8C1FDC9D4}" sibTransId="{40455F4C-38D9-104C-B0F1-824842749566}"/>
    <dgm:cxn modelId="{EE05061D-B0FD-2444-AE5A-9E7F6B0A6ADC}" type="presOf" srcId="{3FEA01AE-BFAF-CA48-8D1C-CF948C006C22}" destId="{620D1D9C-9634-4D4B-803D-F69EA69AEE0B}" srcOrd="0" destOrd="0" presId="urn:microsoft.com/office/officeart/2005/8/layout/process4"/>
    <dgm:cxn modelId="{A7AB1A1F-BC33-AC4C-B74C-D947D4A25445}" type="presOf" srcId="{61412936-E439-2548-A791-149E80BF1DF0}" destId="{51691405-674C-D747-805D-834EF113E179}" srcOrd="0" destOrd="0" presId="urn:microsoft.com/office/officeart/2005/8/layout/process4"/>
    <dgm:cxn modelId="{B66D6632-2011-184D-841E-CBBA82CA11E7}" type="presOf" srcId="{F646A167-1DE3-D947-907B-54DC7FDC752B}" destId="{6C7B369C-C6E1-AE42-8255-5EE272C685D0}" srcOrd="0" destOrd="0" presId="urn:microsoft.com/office/officeart/2005/8/layout/process4"/>
    <dgm:cxn modelId="{269CEE36-959E-BA46-9C2B-2B4BEDE1C895}" srcId="{0FFDC491-AC7E-0F46-B922-BFECDFDDA715}" destId="{85C3C318-67DD-E54E-A959-8599D6AA291D}" srcOrd="2" destOrd="0" parTransId="{EC1F1FE4-3DB6-874A-A36F-7A0A10E29A7B}" sibTransId="{8F5D765D-DFAD-7F47-9F64-4CB180B4FDDF}"/>
    <dgm:cxn modelId="{EAEAE23B-E464-8646-97E7-90ECC13944CF}" type="presOf" srcId="{C66E5115-03DC-9E48-BA0B-EAD563C490F2}" destId="{930BBFF7-1036-0F4F-ABD4-49E14A22269D}" srcOrd="0" destOrd="0" presId="urn:microsoft.com/office/officeart/2005/8/layout/process4"/>
    <dgm:cxn modelId="{5514683D-0514-D249-A77F-B1D69A832629}" srcId="{3B97EDA7-2112-DA4D-AA72-44137688527F}" destId="{816D0E4B-D040-BA49-A504-F6698C379E17}" srcOrd="1" destOrd="0" parTransId="{23C54F92-F871-3140-AE49-5D3FD7231E4A}" sibTransId="{F94E9AD0-3411-BD4E-9F83-2BA552E93C90}"/>
    <dgm:cxn modelId="{D1F2AA3F-2C02-134B-B9F6-5BF62842EF55}" type="presOf" srcId="{83CCDC10-CDC6-FB4F-B755-9D5B45C0BD33}" destId="{1123349A-CA5D-0D49-B80C-B1924FA39D56}" srcOrd="0" destOrd="0" presId="urn:microsoft.com/office/officeart/2005/8/layout/process4"/>
    <dgm:cxn modelId="{C4AEF743-1747-6149-9951-79E84BF9AE17}" type="presOf" srcId="{5E0347FC-3D89-7944-A09F-569D03722F35}" destId="{3D365CFB-AD59-1F40-A9A2-2ADFFA1B7871}" srcOrd="0" destOrd="0" presId="urn:microsoft.com/office/officeart/2005/8/layout/process4"/>
    <dgm:cxn modelId="{1926B744-DECE-1F4D-8CAF-55F508680992}" srcId="{6A9AF3D5-9AC7-9F49-9B39-395202AAEDB4}" destId="{45ECA3F7-1057-E144-A0E3-0DC0750B9E9B}" srcOrd="1" destOrd="0" parTransId="{518E7C3D-43BB-5048-ACFC-C753775EE3E7}" sibTransId="{0D44AE80-A36D-4E4E-90B3-03DEE0D40DD1}"/>
    <dgm:cxn modelId="{DCE1B648-E12F-0D48-B593-DE2C90E548FE}" srcId="{61412936-E439-2548-A791-149E80BF1DF0}" destId="{872FADFA-FE94-3D48-9663-4493019EF48E}" srcOrd="4" destOrd="0" parTransId="{52D329B9-FE13-2649-9E5D-EF3195D9E25F}" sibTransId="{271B1AE1-D862-494F-8120-A68950B6998A}"/>
    <dgm:cxn modelId="{FC59FA48-685B-E648-BE65-804EDC26FC52}" type="presOf" srcId="{85C3C318-67DD-E54E-A959-8599D6AA291D}" destId="{30DB217F-AC4A-5E4B-B109-B36333F7B56A}" srcOrd="0" destOrd="0" presId="urn:microsoft.com/office/officeart/2005/8/layout/process4"/>
    <dgm:cxn modelId="{F826E84A-AED7-C446-B49D-349AF3A38467}" type="presOf" srcId="{3B97EDA7-2112-DA4D-AA72-44137688527F}" destId="{59A5B195-5B87-5D43-96EE-8E3784D35134}" srcOrd="0" destOrd="0" presId="urn:microsoft.com/office/officeart/2005/8/layout/process4"/>
    <dgm:cxn modelId="{700E114E-74A5-4B4F-B05A-B60A7F0CE46C}" srcId="{61412936-E439-2548-A791-149E80BF1DF0}" destId="{6A9AF3D5-9AC7-9F49-9B39-395202AAEDB4}" srcOrd="3" destOrd="0" parTransId="{831DA511-D3E4-3F47-A860-1376438BACA9}" sibTransId="{50C2073B-2126-7945-9806-6A7C6F5256E1}"/>
    <dgm:cxn modelId="{43883451-FAC2-9B44-A7A8-BA4B521639FD}" type="presOf" srcId="{32DB8FBE-072F-914C-BAD1-687B45EE621D}" destId="{D7CC7479-EBE9-CD4E-ACE8-F5D891CC4955}" srcOrd="0" destOrd="0" presId="urn:microsoft.com/office/officeart/2005/8/layout/process4"/>
    <dgm:cxn modelId="{59DE7C54-E299-0E47-BA35-03A7AB67FF98}" type="presOf" srcId="{6BC8B892-CB87-194E-AE73-6E5D0AAE4395}" destId="{A2D7C47A-110A-AF46-889C-3C2D0CC5AF80}" srcOrd="0" destOrd="0" presId="urn:microsoft.com/office/officeart/2005/8/layout/process4"/>
    <dgm:cxn modelId="{1E3EA057-D397-B049-AD4C-69170EED52AB}" type="presOf" srcId="{D511F5CC-B854-F04E-B120-8E0167633E56}" destId="{D3B1760F-1532-2B45-A0A2-893C1CC79CEA}" srcOrd="0" destOrd="0" presId="urn:microsoft.com/office/officeart/2005/8/layout/process4"/>
    <dgm:cxn modelId="{F094FF58-0E30-DE41-9252-79072AC70722}" type="presOf" srcId="{2F3AE28C-5484-4B49-8922-A4B8CEBA3A2A}" destId="{3FC639F4-4F24-9C47-B7B7-7F9CBD86CFB8}" srcOrd="0" destOrd="0" presId="urn:microsoft.com/office/officeart/2005/8/layout/process4"/>
    <dgm:cxn modelId="{206F5661-4873-4E44-963D-8C23E6BC7D32}" srcId="{C66E5115-03DC-9E48-BA0B-EAD563C490F2}" destId="{D6DD453E-1124-CA4D-A647-A037987D5374}" srcOrd="3" destOrd="0" parTransId="{A9434D4C-51AE-1044-8377-B5E9FAB30371}" sibTransId="{1DE439DD-ECA6-424F-873B-6108960B5D1C}"/>
    <dgm:cxn modelId="{29EB6462-D72B-3048-A113-F62A34E252CE}" type="presOf" srcId="{3B97EDA7-2112-DA4D-AA72-44137688527F}" destId="{78A6839D-6DD4-3243-AE87-317639DC4272}" srcOrd="1" destOrd="0" presId="urn:microsoft.com/office/officeart/2005/8/layout/process4"/>
    <dgm:cxn modelId="{BACBA064-47C7-B44B-A721-2D38B6428E94}" srcId="{2F3AE28C-5484-4B49-8922-A4B8CEBA3A2A}" destId="{3FEA01AE-BFAF-CA48-8D1C-CF948C006C22}" srcOrd="1" destOrd="0" parTransId="{1EE1E48D-BAB7-7946-A9DC-D14BFA8FBFDE}" sibTransId="{A3A6F149-1F95-C649-B6A6-AA8E6D74B94B}"/>
    <dgm:cxn modelId="{A3A48E69-933F-C547-A3B4-310DF7C45722}" type="presOf" srcId="{6362AB93-98F2-8D4C-8B56-CF0B5251384A}" destId="{46AABC43-51D3-564C-B8C6-F8C89BA87845}" srcOrd="0" destOrd="0" presId="urn:microsoft.com/office/officeart/2005/8/layout/process4"/>
    <dgm:cxn modelId="{45AE6E6C-3839-1F40-9FBA-67CECAAEA658}" srcId="{61412936-E439-2548-A791-149E80BF1DF0}" destId="{D511F5CC-B854-F04E-B120-8E0167633E56}" srcOrd="0" destOrd="0" parTransId="{FB3B17B0-4515-F64C-8D53-1B23C2733F29}" sibTransId="{1DC6A36E-BE86-FB4E-A37B-7796A26B230F}"/>
    <dgm:cxn modelId="{F504976C-BEC7-7B41-8809-2201B24E583A}" type="presOf" srcId="{45ECA3F7-1057-E144-A0E3-0DC0750B9E9B}" destId="{CBD26F9A-653E-A14F-BBAC-7C3AE11FFF99}" srcOrd="0" destOrd="0" presId="urn:microsoft.com/office/officeart/2005/8/layout/process4"/>
    <dgm:cxn modelId="{29E9FC70-FF26-0043-9CFC-E1AE7D9D18D8}" type="presOf" srcId="{587B8581-7BE1-1B44-A112-AC131354A689}" destId="{484B9156-2AC9-FC44-83D5-C402A1AF9196}" srcOrd="0" destOrd="0" presId="urn:microsoft.com/office/officeart/2005/8/layout/process4"/>
    <dgm:cxn modelId="{9DC4CF72-49C5-4B48-B460-FEE68185628B}" type="presOf" srcId="{6A9AF3D5-9AC7-9F49-9B39-395202AAEDB4}" destId="{B197DBB4-0173-5841-8F2A-668940FCF6C3}" srcOrd="1" destOrd="0" presId="urn:microsoft.com/office/officeart/2005/8/layout/process4"/>
    <dgm:cxn modelId="{588ADB72-BCA7-5B4C-9A88-83D8B3952275}" srcId="{6A9AF3D5-9AC7-9F49-9B39-395202AAEDB4}" destId="{E957177F-9F1C-D441-BD81-A4F04030C6FC}" srcOrd="2" destOrd="0" parTransId="{04CB69E0-B000-A644-8501-F65CA3310DFE}" sibTransId="{A78554CF-3A27-5448-8D12-403FE1C74B67}"/>
    <dgm:cxn modelId="{1F8A9676-A68A-304D-A58B-130EE7673E2C}" type="presOf" srcId="{E957177F-9F1C-D441-BD81-A4F04030C6FC}" destId="{1ED07746-6F52-734F-BB8B-691E19F1D5A5}" srcOrd="0" destOrd="0" presId="urn:microsoft.com/office/officeart/2005/8/layout/process4"/>
    <dgm:cxn modelId="{666F287B-2040-5549-9CE8-60433DBEB74F}" srcId="{3B97EDA7-2112-DA4D-AA72-44137688527F}" destId="{A29FDACB-B29C-2045-991A-3037F046F9F4}" srcOrd="0" destOrd="0" parTransId="{5EB52393-BB09-784B-9CC6-FDF10C5C8297}" sibTransId="{0456634C-86B5-EC46-B716-F8E1E505A282}"/>
    <dgm:cxn modelId="{B5D18B7E-AC80-4E4A-87C1-D8FF37F4CDB1}" type="presOf" srcId="{0FFDC491-AC7E-0F46-B922-BFECDFDDA715}" destId="{DD65E5C0-4354-BB43-BE1A-D83779B69E9B}" srcOrd="0" destOrd="0" presId="urn:microsoft.com/office/officeart/2005/8/layout/process4"/>
    <dgm:cxn modelId="{6D0BCC81-CBCF-B140-AB0C-34479C42EED6}" type="presOf" srcId="{D511F5CC-B854-F04E-B120-8E0167633E56}" destId="{3052162C-13DE-1045-BE37-6D0FFFAE9EC7}" srcOrd="1" destOrd="0" presId="urn:microsoft.com/office/officeart/2005/8/layout/process4"/>
    <dgm:cxn modelId="{3A959482-AFC0-7843-8D63-2A06698F75A4}" type="presOf" srcId="{6A9AF3D5-9AC7-9F49-9B39-395202AAEDB4}" destId="{FA2D9E87-EB70-BE4B-B26C-162BEEA90D17}" srcOrd="0" destOrd="0" presId="urn:microsoft.com/office/officeart/2005/8/layout/process4"/>
    <dgm:cxn modelId="{4B0A1D93-11D7-424E-AA20-2403A996C023}" srcId="{61412936-E439-2548-A791-149E80BF1DF0}" destId="{C66E5115-03DC-9E48-BA0B-EAD563C490F2}" srcOrd="2" destOrd="0" parTransId="{1DB09BB6-72F8-5844-AF20-E731B63EE86F}" sibTransId="{B5813D5F-956B-3B49-993E-380117462CF3}"/>
    <dgm:cxn modelId="{C86C0F96-9CF0-F048-827B-00EEAF06D508}" srcId="{C66E5115-03DC-9E48-BA0B-EAD563C490F2}" destId="{582BA88A-67B9-AA45-B90D-54E00B9D8F6F}" srcOrd="2" destOrd="0" parTransId="{04C9F2F9-D6DA-7A40-92BF-B0A266EC6AF3}" sibTransId="{BD4F8315-603A-CD4C-A958-8F6F1243F5B4}"/>
    <dgm:cxn modelId="{70C799AD-5D0C-A140-922E-0C14E750260C}" type="presOf" srcId="{96967F89-9645-5D4B-A35B-711D9354B5A7}" destId="{1D671F70-F47A-9E43-8753-1519F582BEFE}" srcOrd="1" destOrd="0" presId="urn:microsoft.com/office/officeart/2005/8/layout/process4"/>
    <dgm:cxn modelId="{954778B4-8CF3-374F-A179-6BA23F4EE1E9}" srcId="{D511F5CC-B854-F04E-B120-8E0167633E56}" destId="{59276230-0F08-294D-BC1E-45EF7F2C1DD1}" srcOrd="1" destOrd="0" parTransId="{84AC8599-2105-1E4E-B566-D5B0BACDFBA3}" sibTransId="{8A22A28B-1406-324B-B2F6-A4588EA4F112}"/>
    <dgm:cxn modelId="{84EF24B7-87DD-AB4F-8454-8504B609B6CF}" srcId="{61412936-E439-2548-A791-149E80BF1DF0}" destId="{96967F89-9645-5D4B-A35B-711D9354B5A7}" srcOrd="5" destOrd="0" parTransId="{3A1284E7-7E99-D34F-B995-9A268501FFDB}" sibTransId="{4E747DA4-B085-D54D-A63C-601FDCF1F48F}"/>
    <dgm:cxn modelId="{88899BB8-96A4-BD48-8073-D3E3E3789A73}" type="presOf" srcId="{582BA88A-67B9-AA45-B90D-54E00B9D8F6F}" destId="{295BF8BC-56BC-514C-ADA8-94BDA8BFA593}" srcOrd="0" destOrd="0" presId="urn:microsoft.com/office/officeart/2005/8/layout/process4"/>
    <dgm:cxn modelId="{281F77BA-86FA-9D4D-92E0-50C11F2ACCD8}" srcId="{61412936-E439-2548-A791-149E80BF1DF0}" destId="{2F3AE28C-5484-4B49-8922-A4B8CEBA3A2A}" srcOrd="1" destOrd="0" parTransId="{3866EC4E-F8C5-304E-ADE1-EBA057B1B11D}" sibTransId="{6C050513-9CC4-FD40-BC31-1D2C1A1BE33E}"/>
    <dgm:cxn modelId="{F2D1CEBD-9012-B741-80ED-91F01676558A}" type="presOf" srcId="{C66E5115-03DC-9E48-BA0B-EAD563C490F2}" destId="{B37BE584-E26E-8B45-AA07-821E16BD947E}" srcOrd="1" destOrd="0" presId="urn:microsoft.com/office/officeart/2005/8/layout/process4"/>
    <dgm:cxn modelId="{4DD816C1-85CF-364C-A3BF-55F404A39BAE}" srcId="{61412936-E439-2548-A791-149E80BF1DF0}" destId="{3B97EDA7-2112-DA4D-AA72-44137688527F}" srcOrd="7" destOrd="0" parTransId="{378FE483-4049-794E-8E70-0FDE15F841F8}" sibTransId="{5BF818D7-834C-F94A-A3F4-09641A32A2EB}"/>
    <dgm:cxn modelId="{3DB30ECD-F589-274C-BFD6-3408B049C8BE}" srcId="{0FFDC491-AC7E-0F46-B922-BFECDFDDA715}" destId="{5C6E01D9-9FEF-164D-9EB1-952169267999}" srcOrd="1" destOrd="0" parTransId="{3CD6E540-237A-A44F-8F80-6EE70604ADA9}" sibTransId="{9283F457-55FA-814B-B0A3-6ACFEE18AF88}"/>
    <dgm:cxn modelId="{40061DD0-DDAE-6843-AABE-FC1B0C93544E}" type="presOf" srcId="{0FFDC491-AC7E-0F46-B922-BFECDFDDA715}" destId="{C6928878-06A8-C845-9EBD-3504EEF9CE2F}" srcOrd="1" destOrd="0" presId="urn:microsoft.com/office/officeart/2005/8/layout/process4"/>
    <dgm:cxn modelId="{2D06BEDC-50BE-5E4D-8DD3-B8A7913238A1}" srcId="{C66E5115-03DC-9E48-BA0B-EAD563C490F2}" destId="{83CCDC10-CDC6-FB4F-B755-9D5B45C0BD33}" srcOrd="0" destOrd="0" parTransId="{51DBE01E-E7C7-7D4C-8E82-A056906C4283}" sibTransId="{CA95E5FF-DADB-E04E-AC53-970660F691D9}"/>
    <dgm:cxn modelId="{53CFA3DF-E30C-2848-9BBB-92320A30CE66}" type="presOf" srcId="{96967F89-9645-5D4B-A35B-711D9354B5A7}" destId="{46974321-FF4D-9245-B377-8D0DFA8DF37C}" srcOrd="0" destOrd="0" presId="urn:microsoft.com/office/officeart/2005/8/layout/process4"/>
    <dgm:cxn modelId="{7F66FDE9-9806-D843-A427-0B5805C2A9D2}" srcId="{0FFDC491-AC7E-0F46-B922-BFECDFDDA715}" destId="{5E0347FC-3D89-7944-A09F-569D03722F35}" srcOrd="0" destOrd="0" parTransId="{BAD0E326-432B-0A41-A625-454D8B1B848B}" sibTransId="{AE729042-0F90-B145-823D-4557B401F4AF}"/>
    <dgm:cxn modelId="{C6E0E1EC-8D24-214C-BC5F-70E3C154974D}" type="presOf" srcId="{5C6E01D9-9FEF-164D-9EB1-952169267999}" destId="{929A7DA9-0F08-4F47-A3D1-EBF80FFD86CC}" srcOrd="0" destOrd="0" presId="urn:microsoft.com/office/officeart/2005/8/layout/process4"/>
    <dgm:cxn modelId="{58CF16F2-A77A-264E-BF79-AF47801E9CED}" type="presOf" srcId="{2F3AE28C-5484-4B49-8922-A4B8CEBA3A2A}" destId="{20CCC6B3-3F1F-5348-9960-111E2B4FCB75}" srcOrd="1" destOrd="0" presId="urn:microsoft.com/office/officeart/2005/8/layout/process4"/>
    <dgm:cxn modelId="{06F740F4-D049-C147-BEE0-2162D2BC3153}" srcId="{96967F89-9645-5D4B-A35B-711D9354B5A7}" destId="{587B8581-7BE1-1B44-A112-AC131354A689}" srcOrd="0" destOrd="0" parTransId="{43398A36-AABD-D444-8075-2BDB0968E571}" sibTransId="{636C7102-5055-904D-903D-EA6F64D77CBF}"/>
    <dgm:cxn modelId="{657874F4-86EA-F541-B036-EBF45389B54A}" type="presOf" srcId="{A29FDACB-B29C-2045-991A-3037F046F9F4}" destId="{8F0F5D6C-27F2-1F46-B617-FB057A25C80B}" srcOrd="0" destOrd="0" presId="urn:microsoft.com/office/officeart/2005/8/layout/process4"/>
    <dgm:cxn modelId="{560174FB-4B82-E143-A890-CCDAABA2F4E2}" type="presOf" srcId="{D6DD453E-1124-CA4D-A647-A037987D5374}" destId="{7E41F922-4CDB-C543-B803-B285A3E58A03}" srcOrd="0" destOrd="0" presId="urn:microsoft.com/office/officeart/2005/8/layout/process4"/>
    <dgm:cxn modelId="{6DB9DDFB-2ACF-5545-95FF-DE93219F81F3}" type="presOf" srcId="{59276230-0F08-294D-BC1E-45EF7F2C1DD1}" destId="{4232857B-23E5-EF46-9376-A8D3FCF943FA}" srcOrd="0" destOrd="0" presId="urn:microsoft.com/office/officeart/2005/8/layout/process4"/>
    <dgm:cxn modelId="{DA6F943F-58AF-E447-AA19-CE8360BB299B}" type="presParOf" srcId="{51691405-674C-D747-805D-834EF113E179}" destId="{4BA4933A-A35F-514B-8FDD-4DEFD95D4499}" srcOrd="0" destOrd="0" presId="urn:microsoft.com/office/officeart/2005/8/layout/process4"/>
    <dgm:cxn modelId="{F172EF58-3A5A-754F-838F-86D5CA336233}" type="presParOf" srcId="{4BA4933A-A35F-514B-8FDD-4DEFD95D4499}" destId="{59A5B195-5B87-5D43-96EE-8E3784D35134}" srcOrd="0" destOrd="0" presId="urn:microsoft.com/office/officeart/2005/8/layout/process4"/>
    <dgm:cxn modelId="{4934FAFA-4990-9242-A8FA-54BBFDEBD8BE}" type="presParOf" srcId="{4BA4933A-A35F-514B-8FDD-4DEFD95D4499}" destId="{78A6839D-6DD4-3243-AE87-317639DC4272}" srcOrd="1" destOrd="0" presId="urn:microsoft.com/office/officeart/2005/8/layout/process4"/>
    <dgm:cxn modelId="{C437FFC4-DEDD-C14F-98CD-A1546CAF82B2}" type="presParOf" srcId="{4BA4933A-A35F-514B-8FDD-4DEFD95D4499}" destId="{8904A70D-3A55-E445-A73D-56A52879627A}" srcOrd="2" destOrd="0" presId="urn:microsoft.com/office/officeart/2005/8/layout/process4"/>
    <dgm:cxn modelId="{F1723C61-98B6-0347-A99F-245EBFE60E51}" type="presParOf" srcId="{8904A70D-3A55-E445-A73D-56A52879627A}" destId="{8F0F5D6C-27F2-1F46-B617-FB057A25C80B}" srcOrd="0" destOrd="0" presId="urn:microsoft.com/office/officeart/2005/8/layout/process4"/>
    <dgm:cxn modelId="{0145A6D3-69F6-664B-A10A-E0E199BAC17D}" type="presParOf" srcId="{8904A70D-3A55-E445-A73D-56A52879627A}" destId="{20842FEC-359B-814F-82A8-C9B3A45B30BF}" srcOrd="1" destOrd="0" presId="urn:microsoft.com/office/officeart/2005/8/layout/process4"/>
    <dgm:cxn modelId="{BC07F71C-378A-7D44-BA78-81E5E9704D26}" type="presParOf" srcId="{51691405-674C-D747-805D-834EF113E179}" destId="{76FFD05E-EC84-574A-9ADE-F5FC335FB28B}" srcOrd="1" destOrd="0" presId="urn:microsoft.com/office/officeart/2005/8/layout/process4"/>
    <dgm:cxn modelId="{2D3AD887-E1D4-3543-8575-D857AEAC783A}" type="presParOf" srcId="{51691405-674C-D747-805D-834EF113E179}" destId="{037CE4F3-1AFC-E149-9045-610332274611}" srcOrd="2" destOrd="0" presId="urn:microsoft.com/office/officeart/2005/8/layout/process4"/>
    <dgm:cxn modelId="{1B757172-6D84-BF4F-9831-E9ADC2266799}" type="presParOf" srcId="{037CE4F3-1AFC-E149-9045-610332274611}" destId="{DD65E5C0-4354-BB43-BE1A-D83779B69E9B}" srcOrd="0" destOrd="0" presId="urn:microsoft.com/office/officeart/2005/8/layout/process4"/>
    <dgm:cxn modelId="{32E8FCEC-47F9-AF41-B282-0A0360DF88C8}" type="presParOf" srcId="{037CE4F3-1AFC-E149-9045-610332274611}" destId="{C6928878-06A8-C845-9EBD-3504EEF9CE2F}" srcOrd="1" destOrd="0" presId="urn:microsoft.com/office/officeart/2005/8/layout/process4"/>
    <dgm:cxn modelId="{4B88DFC7-7D00-1645-81B4-1F04EE64D724}" type="presParOf" srcId="{037CE4F3-1AFC-E149-9045-610332274611}" destId="{2C5F72EF-F146-9A48-973C-971E7942804C}" srcOrd="2" destOrd="0" presId="urn:microsoft.com/office/officeart/2005/8/layout/process4"/>
    <dgm:cxn modelId="{116BEDF9-004B-8B41-B8F9-7AAE39979F07}" type="presParOf" srcId="{2C5F72EF-F146-9A48-973C-971E7942804C}" destId="{3D365CFB-AD59-1F40-A9A2-2ADFFA1B7871}" srcOrd="0" destOrd="0" presId="urn:microsoft.com/office/officeart/2005/8/layout/process4"/>
    <dgm:cxn modelId="{CC4F241A-64F8-4547-BD83-BAB6ED8F9B08}" type="presParOf" srcId="{2C5F72EF-F146-9A48-973C-971E7942804C}" destId="{929A7DA9-0F08-4F47-A3D1-EBF80FFD86CC}" srcOrd="1" destOrd="0" presId="urn:microsoft.com/office/officeart/2005/8/layout/process4"/>
    <dgm:cxn modelId="{309F8004-4C44-024A-B31F-E45A2950C004}" type="presParOf" srcId="{2C5F72EF-F146-9A48-973C-971E7942804C}" destId="{30DB217F-AC4A-5E4B-B109-B36333F7B56A}" srcOrd="2" destOrd="0" presId="urn:microsoft.com/office/officeart/2005/8/layout/process4"/>
    <dgm:cxn modelId="{56A5A3EB-C4EC-C343-B51D-44400F3C7AB5}" type="presParOf" srcId="{51691405-674C-D747-805D-834EF113E179}" destId="{AB7C7CF1-09F4-0D45-AF0C-2E6260596E14}" srcOrd="3" destOrd="0" presId="urn:microsoft.com/office/officeart/2005/8/layout/process4"/>
    <dgm:cxn modelId="{81F668B9-AE8E-CD4E-8CAD-2C4C9979DE21}" type="presParOf" srcId="{51691405-674C-D747-805D-834EF113E179}" destId="{ADEE4E08-6C86-D64A-BC6D-065C99F7A97E}" srcOrd="4" destOrd="0" presId="urn:microsoft.com/office/officeart/2005/8/layout/process4"/>
    <dgm:cxn modelId="{0DA0EAFF-FD93-FB41-A40A-B9A772E49363}" type="presParOf" srcId="{ADEE4E08-6C86-D64A-BC6D-065C99F7A97E}" destId="{46974321-FF4D-9245-B377-8D0DFA8DF37C}" srcOrd="0" destOrd="0" presId="urn:microsoft.com/office/officeart/2005/8/layout/process4"/>
    <dgm:cxn modelId="{9E4ADA57-D5E2-5445-8211-E9F1231669F4}" type="presParOf" srcId="{ADEE4E08-6C86-D64A-BC6D-065C99F7A97E}" destId="{1D671F70-F47A-9E43-8753-1519F582BEFE}" srcOrd="1" destOrd="0" presId="urn:microsoft.com/office/officeart/2005/8/layout/process4"/>
    <dgm:cxn modelId="{EDFB34BC-9D7F-A34D-AE42-BE321DB99D8B}" type="presParOf" srcId="{ADEE4E08-6C86-D64A-BC6D-065C99F7A97E}" destId="{E3BCA8FA-0453-B14F-ABE1-C35324427FFD}" srcOrd="2" destOrd="0" presId="urn:microsoft.com/office/officeart/2005/8/layout/process4"/>
    <dgm:cxn modelId="{36C7F701-3AAF-5946-8BAE-2D2EF0BAD18F}" type="presParOf" srcId="{E3BCA8FA-0453-B14F-ABE1-C35324427FFD}" destId="{484B9156-2AC9-FC44-83D5-C402A1AF9196}" srcOrd="0" destOrd="0" presId="urn:microsoft.com/office/officeart/2005/8/layout/process4"/>
    <dgm:cxn modelId="{0CAA1001-EA20-BA49-8CDF-FE0DA9AB432F}" type="presParOf" srcId="{51691405-674C-D747-805D-834EF113E179}" destId="{9C706876-0BFB-994D-99E6-1B18C5DC8B8C}" srcOrd="5" destOrd="0" presId="urn:microsoft.com/office/officeart/2005/8/layout/process4"/>
    <dgm:cxn modelId="{F8FC8452-8D69-D54C-9BB0-B6D3898A5647}" type="presParOf" srcId="{51691405-674C-D747-805D-834EF113E179}" destId="{FBD779F0-3EF9-2844-AD1B-250CEEE81C65}" srcOrd="6" destOrd="0" presId="urn:microsoft.com/office/officeart/2005/8/layout/process4"/>
    <dgm:cxn modelId="{12081F05-67D8-AD4D-9D57-3A0B55BA2879}" type="presParOf" srcId="{FBD779F0-3EF9-2844-AD1B-250CEEE81C65}" destId="{C343E33E-6E01-F74C-8D27-33C3279D6494}" srcOrd="0" destOrd="0" presId="urn:microsoft.com/office/officeart/2005/8/layout/process4"/>
    <dgm:cxn modelId="{0F53001E-6001-3141-BB27-B31D25F567D0}" type="presParOf" srcId="{51691405-674C-D747-805D-834EF113E179}" destId="{18DFB4C1-BF9A-A240-83E0-3161A051668B}" srcOrd="7" destOrd="0" presId="urn:microsoft.com/office/officeart/2005/8/layout/process4"/>
    <dgm:cxn modelId="{B9A29281-80FE-D54E-A60C-4289A91E7338}" type="presParOf" srcId="{51691405-674C-D747-805D-834EF113E179}" destId="{5D4D8D58-64D2-CD4A-9B48-A615872CC727}" srcOrd="8" destOrd="0" presId="urn:microsoft.com/office/officeart/2005/8/layout/process4"/>
    <dgm:cxn modelId="{0CCDAD79-709D-0C42-A1B7-23ACCE1B15E8}" type="presParOf" srcId="{5D4D8D58-64D2-CD4A-9B48-A615872CC727}" destId="{FA2D9E87-EB70-BE4B-B26C-162BEEA90D17}" srcOrd="0" destOrd="0" presId="urn:microsoft.com/office/officeart/2005/8/layout/process4"/>
    <dgm:cxn modelId="{23D0DF62-90FC-3A43-9A9D-3B438FFD92BB}" type="presParOf" srcId="{5D4D8D58-64D2-CD4A-9B48-A615872CC727}" destId="{B197DBB4-0173-5841-8F2A-668940FCF6C3}" srcOrd="1" destOrd="0" presId="urn:microsoft.com/office/officeart/2005/8/layout/process4"/>
    <dgm:cxn modelId="{E6314628-B363-3047-8A6E-57CA82C8715E}" type="presParOf" srcId="{5D4D8D58-64D2-CD4A-9B48-A615872CC727}" destId="{0F81646B-C86D-B14F-9959-9A6123F8E4E7}" srcOrd="2" destOrd="0" presId="urn:microsoft.com/office/officeart/2005/8/layout/process4"/>
    <dgm:cxn modelId="{7B40A4E3-5D64-6C40-B2BF-75C76935EF16}" type="presParOf" srcId="{0F81646B-C86D-B14F-9959-9A6123F8E4E7}" destId="{6C7B369C-C6E1-AE42-8255-5EE272C685D0}" srcOrd="0" destOrd="0" presId="urn:microsoft.com/office/officeart/2005/8/layout/process4"/>
    <dgm:cxn modelId="{3AE6B484-B1D1-3B4A-A741-F9288654A26F}" type="presParOf" srcId="{0F81646B-C86D-B14F-9959-9A6123F8E4E7}" destId="{CBD26F9A-653E-A14F-BBAC-7C3AE11FFF99}" srcOrd="1" destOrd="0" presId="urn:microsoft.com/office/officeart/2005/8/layout/process4"/>
    <dgm:cxn modelId="{52BB7004-418D-E247-A635-0B8BBAAB7BFB}" type="presParOf" srcId="{0F81646B-C86D-B14F-9959-9A6123F8E4E7}" destId="{1ED07746-6F52-734F-BB8B-691E19F1D5A5}" srcOrd="2" destOrd="0" presId="urn:microsoft.com/office/officeart/2005/8/layout/process4"/>
    <dgm:cxn modelId="{9891CC83-9724-BF4C-B73C-0872C3998685}" type="presParOf" srcId="{51691405-674C-D747-805D-834EF113E179}" destId="{890D9AAD-0EF4-FF4E-9049-BBF81FC1B53B}" srcOrd="9" destOrd="0" presId="urn:microsoft.com/office/officeart/2005/8/layout/process4"/>
    <dgm:cxn modelId="{D4AD7F91-C545-574D-AF38-E370D7E6445E}" type="presParOf" srcId="{51691405-674C-D747-805D-834EF113E179}" destId="{018DD473-1C66-4349-9186-275FD096FB0E}" srcOrd="10" destOrd="0" presId="urn:microsoft.com/office/officeart/2005/8/layout/process4"/>
    <dgm:cxn modelId="{8E4CEF65-E7AF-C24D-AFAF-9D2D69FD4882}" type="presParOf" srcId="{018DD473-1C66-4349-9186-275FD096FB0E}" destId="{930BBFF7-1036-0F4F-ABD4-49E14A22269D}" srcOrd="0" destOrd="0" presId="urn:microsoft.com/office/officeart/2005/8/layout/process4"/>
    <dgm:cxn modelId="{C1B61EF6-9EF9-A04B-81DC-9791B9841509}" type="presParOf" srcId="{018DD473-1C66-4349-9186-275FD096FB0E}" destId="{B37BE584-E26E-8B45-AA07-821E16BD947E}" srcOrd="1" destOrd="0" presId="urn:microsoft.com/office/officeart/2005/8/layout/process4"/>
    <dgm:cxn modelId="{5FEA92EC-BAAE-324B-A5A8-157C57DE3CB4}" type="presParOf" srcId="{018DD473-1C66-4349-9186-275FD096FB0E}" destId="{FE859689-7D7B-5141-A1E5-CC36B0B1946D}" srcOrd="2" destOrd="0" presId="urn:microsoft.com/office/officeart/2005/8/layout/process4"/>
    <dgm:cxn modelId="{64FE62C1-1591-F543-AF90-61E45D9ACC72}" type="presParOf" srcId="{FE859689-7D7B-5141-A1E5-CC36B0B1946D}" destId="{1123349A-CA5D-0D49-B80C-B1924FA39D56}" srcOrd="0" destOrd="0" presId="urn:microsoft.com/office/officeart/2005/8/layout/process4"/>
    <dgm:cxn modelId="{93DAF2CE-7E3D-EC4E-8958-7D5120254D9B}" type="presParOf" srcId="{FE859689-7D7B-5141-A1E5-CC36B0B1946D}" destId="{46AABC43-51D3-564C-B8C6-F8C89BA87845}" srcOrd="1" destOrd="0" presId="urn:microsoft.com/office/officeart/2005/8/layout/process4"/>
    <dgm:cxn modelId="{A8FC6326-7EC2-FC46-91F0-333034FA96FF}" type="presParOf" srcId="{FE859689-7D7B-5141-A1E5-CC36B0B1946D}" destId="{295BF8BC-56BC-514C-ADA8-94BDA8BFA593}" srcOrd="2" destOrd="0" presId="urn:microsoft.com/office/officeart/2005/8/layout/process4"/>
    <dgm:cxn modelId="{FB3C64A0-A323-544A-B1B6-99E067567D3E}" type="presParOf" srcId="{FE859689-7D7B-5141-A1E5-CC36B0B1946D}" destId="{7E41F922-4CDB-C543-B803-B285A3E58A03}" srcOrd="3" destOrd="0" presId="urn:microsoft.com/office/officeart/2005/8/layout/process4"/>
    <dgm:cxn modelId="{0F344F78-F919-684D-A65C-650992B29308}" type="presParOf" srcId="{51691405-674C-D747-805D-834EF113E179}" destId="{263E1C40-E9D3-DE4C-A343-EC370F5F60A6}" srcOrd="11" destOrd="0" presId="urn:microsoft.com/office/officeart/2005/8/layout/process4"/>
    <dgm:cxn modelId="{D8CD82CD-A2AC-6D47-B0B4-10FAC8F277FC}" type="presParOf" srcId="{51691405-674C-D747-805D-834EF113E179}" destId="{CCC928DA-5C85-A74F-8FBC-7511B0CFC3A6}" srcOrd="12" destOrd="0" presId="urn:microsoft.com/office/officeart/2005/8/layout/process4"/>
    <dgm:cxn modelId="{CCFA3C61-B40F-DB46-B29F-5C96015C4302}" type="presParOf" srcId="{CCC928DA-5C85-A74F-8FBC-7511B0CFC3A6}" destId="{3FC639F4-4F24-9C47-B7B7-7F9CBD86CFB8}" srcOrd="0" destOrd="0" presId="urn:microsoft.com/office/officeart/2005/8/layout/process4"/>
    <dgm:cxn modelId="{777725E3-31BA-804E-A6C4-3BACA9782615}" type="presParOf" srcId="{CCC928DA-5C85-A74F-8FBC-7511B0CFC3A6}" destId="{20CCC6B3-3F1F-5348-9960-111E2B4FCB75}" srcOrd="1" destOrd="0" presId="urn:microsoft.com/office/officeart/2005/8/layout/process4"/>
    <dgm:cxn modelId="{6517BD9E-6894-B44B-9642-4147263A0269}" type="presParOf" srcId="{CCC928DA-5C85-A74F-8FBC-7511B0CFC3A6}" destId="{E22E14B1-D6CE-4846-B0E0-B6FD597476B1}" srcOrd="2" destOrd="0" presId="urn:microsoft.com/office/officeart/2005/8/layout/process4"/>
    <dgm:cxn modelId="{533751FB-BB5C-9142-B5D2-E3EE1DC7E77B}" type="presParOf" srcId="{E22E14B1-D6CE-4846-B0E0-B6FD597476B1}" destId="{A2D7C47A-110A-AF46-889C-3C2D0CC5AF80}" srcOrd="0" destOrd="0" presId="urn:microsoft.com/office/officeart/2005/8/layout/process4"/>
    <dgm:cxn modelId="{D3386F76-B1C5-5845-B49B-6237790FDFDE}" type="presParOf" srcId="{E22E14B1-D6CE-4846-B0E0-B6FD597476B1}" destId="{620D1D9C-9634-4D4B-803D-F69EA69AEE0B}" srcOrd="1" destOrd="0" presId="urn:microsoft.com/office/officeart/2005/8/layout/process4"/>
    <dgm:cxn modelId="{D9EA03F3-28E7-9447-86C7-6AEEC8F1F4B0}" type="presParOf" srcId="{51691405-674C-D747-805D-834EF113E179}" destId="{352579EC-5268-504E-A960-15BCA795B08C}" srcOrd="13" destOrd="0" presId="urn:microsoft.com/office/officeart/2005/8/layout/process4"/>
    <dgm:cxn modelId="{55B5CCB3-A6E9-CF4F-96BA-1CE8F343DB5D}" type="presParOf" srcId="{51691405-674C-D747-805D-834EF113E179}" destId="{D8FEA1B1-311C-C24B-BA69-E9BE513790FF}" srcOrd="14" destOrd="0" presId="urn:microsoft.com/office/officeart/2005/8/layout/process4"/>
    <dgm:cxn modelId="{DC8576AB-CCD3-FD44-94C3-255CDF03158A}" type="presParOf" srcId="{D8FEA1B1-311C-C24B-BA69-E9BE513790FF}" destId="{D3B1760F-1532-2B45-A0A2-893C1CC79CEA}" srcOrd="0" destOrd="0" presId="urn:microsoft.com/office/officeart/2005/8/layout/process4"/>
    <dgm:cxn modelId="{73BF75E5-67BE-A745-8EFE-5A88F0F1CAD0}" type="presParOf" srcId="{D8FEA1B1-311C-C24B-BA69-E9BE513790FF}" destId="{3052162C-13DE-1045-BE37-6D0FFFAE9EC7}" srcOrd="1" destOrd="0" presId="urn:microsoft.com/office/officeart/2005/8/layout/process4"/>
    <dgm:cxn modelId="{E3CB7C1B-5B5A-0F48-B4BB-A10944E9ACB1}" type="presParOf" srcId="{D8FEA1B1-311C-C24B-BA69-E9BE513790FF}" destId="{0873E4E7-CE28-0241-966E-A2600C472E23}" srcOrd="2" destOrd="0" presId="urn:microsoft.com/office/officeart/2005/8/layout/process4"/>
    <dgm:cxn modelId="{2D1331D7-648E-C04C-8E10-20001DD1B997}" type="presParOf" srcId="{0873E4E7-CE28-0241-966E-A2600C472E23}" destId="{D7CC7479-EBE9-CD4E-ACE8-F5D891CC4955}" srcOrd="0" destOrd="0" presId="urn:microsoft.com/office/officeart/2005/8/layout/process4"/>
    <dgm:cxn modelId="{74E60C7F-8DAC-5B43-BE71-8BC1CAFBE74E}" type="presParOf" srcId="{0873E4E7-CE28-0241-966E-A2600C472E23}" destId="{4232857B-23E5-EF46-9376-A8D3FCF943FA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A6839D-6DD4-3243-AE87-317639DC4272}">
      <dsp:nvSpPr>
        <dsp:cNvPr id="0" name=""/>
        <dsp:cNvSpPr/>
      </dsp:nvSpPr>
      <dsp:spPr>
        <a:xfrm>
          <a:off x="0" y="4735680"/>
          <a:ext cx="6324600" cy="444028"/>
        </a:xfrm>
        <a:prstGeom prst="rect">
          <a:avLst/>
        </a:prstGeom>
        <a:solidFill>
          <a:schemeClr val="accent6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mplementation / follow-up of EMP</a:t>
          </a:r>
          <a:endParaRPr lang="en-US" sz="800" kern="1200" dirty="0"/>
        </a:p>
      </dsp:txBody>
      <dsp:txXfrm>
        <a:off x="0" y="4735680"/>
        <a:ext cx="6324600" cy="239775"/>
      </dsp:txXfrm>
    </dsp:sp>
    <dsp:sp modelId="{8F0F5D6C-27F2-1F46-B617-FB057A25C80B}">
      <dsp:nvSpPr>
        <dsp:cNvPr id="0" name=""/>
        <dsp:cNvSpPr/>
      </dsp:nvSpPr>
      <dsp:spPr>
        <a:xfrm>
          <a:off x="0" y="4966575"/>
          <a:ext cx="3162299" cy="20425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12700" rIns="7112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Monitoring</a:t>
          </a:r>
        </a:p>
      </dsp:txBody>
      <dsp:txXfrm>
        <a:off x="0" y="4966575"/>
        <a:ext cx="3162299" cy="204253"/>
      </dsp:txXfrm>
    </dsp:sp>
    <dsp:sp modelId="{20842FEC-359B-814F-82A8-C9B3A45B30BF}">
      <dsp:nvSpPr>
        <dsp:cNvPr id="0" name=""/>
        <dsp:cNvSpPr/>
      </dsp:nvSpPr>
      <dsp:spPr>
        <a:xfrm>
          <a:off x="3162300" y="4966575"/>
          <a:ext cx="3162299" cy="20425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12700" rIns="7112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Control and verification</a:t>
          </a:r>
        </a:p>
      </dsp:txBody>
      <dsp:txXfrm>
        <a:off x="3162300" y="4966575"/>
        <a:ext cx="3162299" cy="204253"/>
      </dsp:txXfrm>
    </dsp:sp>
    <dsp:sp modelId="{C6928878-06A8-C845-9EBD-3504EEF9CE2F}">
      <dsp:nvSpPr>
        <dsp:cNvPr id="0" name=""/>
        <dsp:cNvSpPr/>
      </dsp:nvSpPr>
      <dsp:spPr>
        <a:xfrm rot="10800000">
          <a:off x="0" y="4059424"/>
          <a:ext cx="6324600" cy="682916"/>
        </a:xfrm>
        <a:prstGeom prst="upArrowCallout">
          <a:avLst/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ecision</a:t>
          </a:r>
        </a:p>
      </dsp:txBody>
      <dsp:txXfrm rot="-10800000">
        <a:off x="0" y="4059424"/>
        <a:ext cx="6324600" cy="239703"/>
      </dsp:txXfrm>
    </dsp:sp>
    <dsp:sp modelId="{3D365CFB-AD59-1F40-A9A2-2ADFFA1B7871}">
      <dsp:nvSpPr>
        <dsp:cNvPr id="0" name=""/>
        <dsp:cNvSpPr/>
      </dsp:nvSpPr>
      <dsp:spPr>
        <a:xfrm>
          <a:off x="3088" y="4299128"/>
          <a:ext cx="2106141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12700" rIns="7112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Go</a:t>
          </a:r>
          <a:endParaRPr lang="en-US" sz="800" kern="1200" dirty="0"/>
        </a:p>
      </dsp:txBody>
      <dsp:txXfrm>
        <a:off x="3088" y="4299128"/>
        <a:ext cx="2106141" cy="204191"/>
      </dsp:txXfrm>
    </dsp:sp>
    <dsp:sp modelId="{929A7DA9-0F08-4F47-A3D1-EBF80FFD86CC}">
      <dsp:nvSpPr>
        <dsp:cNvPr id="0" name=""/>
        <dsp:cNvSpPr/>
      </dsp:nvSpPr>
      <dsp:spPr>
        <a:xfrm>
          <a:off x="2109229" y="4299128"/>
          <a:ext cx="2106141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12700" rIns="7112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No-go</a:t>
          </a:r>
        </a:p>
      </dsp:txBody>
      <dsp:txXfrm>
        <a:off x="2109229" y="4299128"/>
        <a:ext cx="2106141" cy="204191"/>
      </dsp:txXfrm>
    </dsp:sp>
    <dsp:sp modelId="{30DB217F-AC4A-5E4B-B109-B36333F7B56A}">
      <dsp:nvSpPr>
        <dsp:cNvPr id="0" name=""/>
        <dsp:cNvSpPr/>
      </dsp:nvSpPr>
      <dsp:spPr>
        <a:xfrm>
          <a:off x="4215370" y="4299128"/>
          <a:ext cx="2106141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12700" rIns="7112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Conditional</a:t>
          </a:r>
        </a:p>
      </dsp:txBody>
      <dsp:txXfrm>
        <a:off x="4215370" y="4299128"/>
        <a:ext cx="2106141" cy="204191"/>
      </dsp:txXfrm>
    </dsp:sp>
    <dsp:sp modelId="{1D671F70-F47A-9E43-8753-1519F582BEFE}">
      <dsp:nvSpPr>
        <dsp:cNvPr id="0" name=""/>
        <dsp:cNvSpPr/>
      </dsp:nvSpPr>
      <dsp:spPr>
        <a:xfrm rot="10800000">
          <a:off x="0" y="3383169"/>
          <a:ext cx="6324600" cy="682916"/>
        </a:xfrm>
        <a:prstGeom prst="upArrowCallout">
          <a:avLst/>
        </a:prstGeom>
        <a:solidFill>
          <a:srgbClr val="8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ublic enquiry</a:t>
          </a:r>
        </a:p>
      </dsp:txBody>
      <dsp:txXfrm rot="-10800000">
        <a:off x="0" y="3383169"/>
        <a:ext cx="6324600" cy="239703"/>
      </dsp:txXfrm>
    </dsp:sp>
    <dsp:sp modelId="{484B9156-2AC9-FC44-83D5-C402A1AF9196}">
      <dsp:nvSpPr>
        <dsp:cNvPr id="0" name=""/>
        <dsp:cNvSpPr/>
      </dsp:nvSpPr>
      <dsp:spPr>
        <a:xfrm>
          <a:off x="0" y="3622872"/>
          <a:ext cx="6324600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12700" rIns="7112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ormal, additional to other opportunities</a:t>
          </a:r>
        </a:p>
      </dsp:txBody>
      <dsp:txXfrm>
        <a:off x="0" y="3622872"/>
        <a:ext cx="6324600" cy="204191"/>
      </dsp:txXfrm>
    </dsp:sp>
    <dsp:sp modelId="{C343E33E-6E01-F74C-8D27-33C3279D6494}">
      <dsp:nvSpPr>
        <dsp:cNvPr id="0" name=""/>
        <dsp:cNvSpPr/>
      </dsp:nvSpPr>
      <dsp:spPr>
        <a:xfrm rot="10800000">
          <a:off x="0" y="2706913"/>
          <a:ext cx="6324600" cy="682916"/>
        </a:xfrm>
        <a:prstGeom prst="upArrowCallout">
          <a:avLst/>
        </a:prstGeom>
        <a:solidFill>
          <a:srgbClr val="008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repare Environmental Management Plan</a:t>
          </a:r>
        </a:p>
      </dsp:txBody>
      <dsp:txXfrm rot="10800000">
        <a:off x="0" y="2706913"/>
        <a:ext cx="6324600" cy="443738"/>
      </dsp:txXfrm>
    </dsp:sp>
    <dsp:sp modelId="{B197DBB4-0173-5841-8F2A-668940FCF6C3}">
      <dsp:nvSpPr>
        <dsp:cNvPr id="0" name=""/>
        <dsp:cNvSpPr/>
      </dsp:nvSpPr>
      <dsp:spPr>
        <a:xfrm rot="10800000">
          <a:off x="0" y="2030657"/>
          <a:ext cx="6324600" cy="682916"/>
        </a:xfrm>
        <a:prstGeom prst="upArrowCallout">
          <a:avLst/>
        </a:prstGeom>
        <a:solidFill>
          <a:srgbClr val="0000F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efine ‘mitigation measures’ – Mitigation Hierarchy</a:t>
          </a:r>
        </a:p>
      </dsp:txBody>
      <dsp:txXfrm rot="-10800000">
        <a:off x="0" y="2030657"/>
        <a:ext cx="6324600" cy="239703"/>
      </dsp:txXfrm>
    </dsp:sp>
    <dsp:sp modelId="{6C7B369C-C6E1-AE42-8255-5EE272C685D0}">
      <dsp:nvSpPr>
        <dsp:cNvPr id="0" name=""/>
        <dsp:cNvSpPr/>
      </dsp:nvSpPr>
      <dsp:spPr>
        <a:xfrm>
          <a:off x="3088" y="2270361"/>
          <a:ext cx="2106141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Avoid, </a:t>
          </a:r>
          <a:r>
            <a:rPr lang="en-US" sz="1100" kern="1200" dirty="0" err="1"/>
            <a:t>minimise</a:t>
          </a:r>
          <a:r>
            <a:rPr lang="en-US" sz="1100" kern="1200" dirty="0"/>
            <a:t> impact</a:t>
          </a:r>
        </a:p>
      </dsp:txBody>
      <dsp:txXfrm>
        <a:off x="3088" y="2270361"/>
        <a:ext cx="2106141" cy="204191"/>
      </dsp:txXfrm>
    </dsp:sp>
    <dsp:sp modelId="{CBD26F9A-653E-A14F-BBAC-7C3AE11FFF99}">
      <dsp:nvSpPr>
        <dsp:cNvPr id="0" name=""/>
        <dsp:cNvSpPr/>
      </dsp:nvSpPr>
      <dsp:spPr>
        <a:xfrm>
          <a:off x="2109229" y="2270361"/>
          <a:ext cx="2106141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Calculate residual impact</a:t>
          </a:r>
        </a:p>
      </dsp:txBody>
      <dsp:txXfrm>
        <a:off x="2109229" y="2270361"/>
        <a:ext cx="2106141" cy="204191"/>
      </dsp:txXfrm>
    </dsp:sp>
    <dsp:sp modelId="{1ED07746-6F52-734F-BB8B-691E19F1D5A5}">
      <dsp:nvSpPr>
        <dsp:cNvPr id="0" name=""/>
        <dsp:cNvSpPr/>
      </dsp:nvSpPr>
      <dsp:spPr>
        <a:xfrm>
          <a:off x="4215370" y="2270361"/>
          <a:ext cx="2106141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 err="1"/>
            <a:t>Maximise</a:t>
          </a:r>
          <a:r>
            <a:rPr lang="en-US" sz="1100" kern="1200" dirty="0"/>
            <a:t> positive impacts</a:t>
          </a:r>
        </a:p>
      </dsp:txBody>
      <dsp:txXfrm>
        <a:off x="4215370" y="2270361"/>
        <a:ext cx="2106141" cy="204191"/>
      </dsp:txXfrm>
    </dsp:sp>
    <dsp:sp modelId="{B37BE584-E26E-8B45-AA07-821E16BD947E}">
      <dsp:nvSpPr>
        <dsp:cNvPr id="0" name=""/>
        <dsp:cNvSpPr/>
      </dsp:nvSpPr>
      <dsp:spPr>
        <a:xfrm rot="10800000">
          <a:off x="0" y="1354402"/>
          <a:ext cx="6324600" cy="682916"/>
        </a:xfrm>
        <a:prstGeom prst="upArrowCallout">
          <a:avLst/>
        </a:prstGeom>
        <a:solidFill>
          <a:schemeClr val="bg2">
            <a:lumMod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ssessment</a:t>
          </a:r>
        </a:p>
      </dsp:txBody>
      <dsp:txXfrm rot="-10800000">
        <a:off x="0" y="1354402"/>
        <a:ext cx="6324600" cy="239703"/>
      </dsp:txXfrm>
    </dsp:sp>
    <dsp:sp modelId="{1123349A-CA5D-0D49-B80C-B1924FA39D56}">
      <dsp:nvSpPr>
        <dsp:cNvPr id="0" name=""/>
        <dsp:cNvSpPr/>
      </dsp:nvSpPr>
      <dsp:spPr>
        <a:xfrm>
          <a:off x="0" y="1594105"/>
          <a:ext cx="1581149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Different techniques</a:t>
          </a:r>
        </a:p>
      </dsp:txBody>
      <dsp:txXfrm>
        <a:off x="0" y="1594105"/>
        <a:ext cx="1581149" cy="204191"/>
      </dsp:txXfrm>
    </dsp:sp>
    <dsp:sp modelId="{46AABC43-51D3-564C-B8C6-F8C89BA87845}">
      <dsp:nvSpPr>
        <dsp:cNvPr id="0" name=""/>
        <dsp:cNvSpPr/>
      </dsp:nvSpPr>
      <dsp:spPr>
        <a:xfrm>
          <a:off x="1581150" y="1594105"/>
          <a:ext cx="1581149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Mainly quantitative</a:t>
          </a:r>
        </a:p>
      </dsp:txBody>
      <dsp:txXfrm>
        <a:off x="1581150" y="1594105"/>
        <a:ext cx="1581149" cy="204191"/>
      </dsp:txXfrm>
    </dsp:sp>
    <dsp:sp modelId="{295BF8BC-56BC-514C-ADA8-94BDA8BFA593}">
      <dsp:nvSpPr>
        <dsp:cNvPr id="0" name=""/>
        <dsp:cNvSpPr/>
      </dsp:nvSpPr>
      <dsp:spPr>
        <a:xfrm>
          <a:off x="3162300" y="1594105"/>
          <a:ext cx="1581149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Beyond compliance</a:t>
          </a:r>
        </a:p>
      </dsp:txBody>
      <dsp:txXfrm>
        <a:off x="3162300" y="1594105"/>
        <a:ext cx="1581149" cy="204191"/>
      </dsp:txXfrm>
    </dsp:sp>
    <dsp:sp modelId="{7E41F922-4CDB-C543-B803-B285A3E58A03}">
      <dsp:nvSpPr>
        <dsp:cNvPr id="0" name=""/>
        <dsp:cNvSpPr/>
      </dsp:nvSpPr>
      <dsp:spPr>
        <a:xfrm>
          <a:off x="4743449" y="1594105"/>
          <a:ext cx="1581149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Inter-disciplinary</a:t>
          </a:r>
        </a:p>
      </dsp:txBody>
      <dsp:txXfrm>
        <a:off x="4743449" y="1594105"/>
        <a:ext cx="1581149" cy="204191"/>
      </dsp:txXfrm>
    </dsp:sp>
    <dsp:sp modelId="{20CCC6B3-3F1F-5348-9960-111E2B4FCB75}">
      <dsp:nvSpPr>
        <dsp:cNvPr id="0" name=""/>
        <dsp:cNvSpPr/>
      </dsp:nvSpPr>
      <dsp:spPr>
        <a:xfrm rot="10800000">
          <a:off x="0" y="678146"/>
          <a:ext cx="6324600" cy="682916"/>
        </a:xfrm>
        <a:prstGeom prst="upArrowCallout">
          <a:avLst/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coping</a:t>
          </a:r>
        </a:p>
      </dsp:txBody>
      <dsp:txXfrm rot="-10800000">
        <a:off x="0" y="678146"/>
        <a:ext cx="6324600" cy="239703"/>
      </dsp:txXfrm>
    </dsp:sp>
    <dsp:sp modelId="{A2D7C47A-110A-AF46-889C-3C2D0CC5AF80}">
      <dsp:nvSpPr>
        <dsp:cNvPr id="0" name=""/>
        <dsp:cNvSpPr/>
      </dsp:nvSpPr>
      <dsp:spPr>
        <a:xfrm>
          <a:off x="0" y="917849"/>
          <a:ext cx="3162299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/>
            <a:t>Participatory</a:t>
          </a:r>
        </a:p>
      </dsp:txBody>
      <dsp:txXfrm>
        <a:off x="0" y="917849"/>
        <a:ext cx="3162299" cy="204191"/>
      </dsp:txXfrm>
    </dsp:sp>
    <dsp:sp modelId="{620D1D9C-9634-4D4B-803D-F69EA69AEE0B}">
      <dsp:nvSpPr>
        <dsp:cNvPr id="0" name=""/>
        <dsp:cNvSpPr/>
      </dsp:nvSpPr>
      <dsp:spPr>
        <a:xfrm>
          <a:off x="3162300" y="917849"/>
          <a:ext cx="3162299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/>
            <a:t>Key aspects, methodologies, approach</a:t>
          </a:r>
        </a:p>
      </dsp:txBody>
      <dsp:txXfrm>
        <a:off x="3162300" y="917849"/>
        <a:ext cx="3162299" cy="204191"/>
      </dsp:txXfrm>
    </dsp:sp>
    <dsp:sp modelId="{3052162C-13DE-1045-BE37-6D0FFFAE9EC7}">
      <dsp:nvSpPr>
        <dsp:cNvPr id="0" name=""/>
        <dsp:cNvSpPr/>
      </dsp:nvSpPr>
      <dsp:spPr>
        <a:xfrm rot="10800000">
          <a:off x="0" y="1890"/>
          <a:ext cx="6324600" cy="682916"/>
        </a:xfrm>
        <a:prstGeom prst="upArrowCallout">
          <a:avLst/>
        </a:prstGeom>
        <a:solidFill>
          <a:srgbClr val="FFFF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accent6"/>
              </a:solidFill>
            </a:rPr>
            <a:t>Screening</a:t>
          </a:r>
        </a:p>
      </dsp:txBody>
      <dsp:txXfrm rot="-10800000">
        <a:off x="0" y="1890"/>
        <a:ext cx="6324600" cy="239703"/>
      </dsp:txXfrm>
    </dsp:sp>
    <dsp:sp modelId="{D7CC7479-EBE9-CD4E-ACE8-F5D891CC4955}">
      <dsp:nvSpPr>
        <dsp:cNvPr id="0" name=""/>
        <dsp:cNvSpPr/>
      </dsp:nvSpPr>
      <dsp:spPr>
        <a:xfrm>
          <a:off x="0" y="241594"/>
          <a:ext cx="3162299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ositive lists</a:t>
          </a:r>
        </a:p>
      </dsp:txBody>
      <dsp:txXfrm>
        <a:off x="0" y="241594"/>
        <a:ext cx="3162299" cy="204191"/>
      </dsp:txXfrm>
    </dsp:sp>
    <dsp:sp modelId="{4232857B-23E5-EF46-9376-A8D3FCF943FA}">
      <dsp:nvSpPr>
        <dsp:cNvPr id="0" name=""/>
        <dsp:cNvSpPr/>
      </dsp:nvSpPr>
      <dsp:spPr>
        <a:xfrm>
          <a:off x="3162300" y="241594"/>
          <a:ext cx="3162299" cy="20419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creening criteria</a:t>
          </a:r>
        </a:p>
      </dsp:txBody>
      <dsp:txXfrm>
        <a:off x="3162300" y="241594"/>
        <a:ext cx="3162299" cy="2041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DE35DC-FCFC-0E46-B780-71F6D3139989}" type="datetimeFigureOut">
              <a:rPr lang="en-US" smtClean="0"/>
              <a:t>3/15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92019-1642-A84A-B0F5-501BB77F4EF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64741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9D0B00-ABF3-E743-BB16-B51AA2DCBA07}" type="datetimeFigureOut">
              <a:rPr lang="en-US" smtClean="0"/>
              <a:t>3/15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3B61BA-BC8E-9343-8767-AC436442196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8051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3B61BA-BC8E-9343-8767-AC436442196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3846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6813" y="1243013"/>
            <a:ext cx="4473575" cy="3354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1FE5D4-4C9C-49AB-8FD2-860FB569E349}" type="slidenum">
              <a:rPr lang="fr-BE" smtClean="0">
                <a:solidFill>
                  <a:prstClr val="black"/>
                </a:solidFill>
              </a:rPr>
              <a:pPr/>
              <a:t>16</a:t>
            </a:fld>
            <a:endParaRPr lang="fr-B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120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3B61BA-BC8E-9343-8767-AC436442196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3846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is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also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to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ensure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that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the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public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are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given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early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and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effective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opportunities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to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participate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in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the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decision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making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procedures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.</a:t>
            </a:r>
          </a:p>
          <a:p>
            <a:endParaRPr lang="es-ES" sz="1200" kern="1200" dirty="0">
              <a:solidFill>
                <a:schemeClr val="tx1"/>
              </a:solidFill>
              <a:latin typeface="Arial" pitchFamily="34" charset="0"/>
              <a:ea typeface="+mn-ea"/>
              <a:cs typeface="+mn-cs"/>
            </a:endParaRPr>
          </a:p>
          <a:p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Environmental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Impact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Assessment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should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not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be a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barrier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to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growth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and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is</a:t>
            </a:r>
            <a:r>
              <a:rPr lang="es-ES" sz="12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baseline="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to</a:t>
            </a:r>
            <a:r>
              <a:rPr lang="es-ES" sz="12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be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applied</a:t>
            </a:r>
            <a:r>
              <a:rPr lang="es-ES" sz="12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to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a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proportion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of </a:t>
            </a:r>
            <a:r>
              <a:rPr lang="es-ES" sz="12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projects</a:t>
            </a:r>
            <a:r>
              <a:rPr lang="es-ES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,</a:t>
            </a:r>
            <a:r>
              <a:rPr lang="es-ES" sz="12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baseline="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where</a:t>
            </a:r>
            <a:r>
              <a:rPr lang="es-ES" sz="12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baseline="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env’l</a:t>
            </a:r>
            <a:r>
              <a:rPr lang="es-ES" sz="12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s-ES" sz="1200" kern="1200" baseline="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impacts</a:t>
            </a:r>
            <a:r>
              <a:rPr lang="es-ES" sz="12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 are </a:t>
            </a:r>
            <a:r>
              <a:rPr lang="es-ES" sz="1200" kern="1200" baseline="0" dirty="0" err="1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likely</a:t>
            </a:r>
            <a:r>
              <a:rPr lang="es-ES" sz="12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.</a:t>
            </a:r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3FFA35-CA4F-4AA3-9AE3-E56271BDB8B9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00755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es-ES"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9901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indent="-742950" algn="just">
              <a:lnSpc>
                <a:spcPct val="7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dirty="0">
                <a:latin typeface="Verdana"/>
                <a:cs typeface="Verdana"/>
              </a:rPr>
              <a:t>Purpose of screening: </a:t>
            </a:r>
          </a:p>
          <a:p>
            <a:pPr marL="742950" indent="-742950" algn="just">
              <a:lnSpc>
                <a:spcPct val="7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endParaRPr lang="en-US" dirty="0">
              <a:latin typeface="Verdana"/>
              <a:cs typeface="Verdana"/>
            </a:endParaRPr>
          </a:p>
          <a:p>
            <a:pPr marL="742950" indent="-742950" algn="just">
              <a:lnSpc>
                <a:spcPct val="7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dirty="0">
                <a:latin typeface="Verdana"/>
                <a:cs typeface="Verdana"/>
              </a:rPr>
              <a:t>Identify those projects or activities that may cause potential significant impacts</a:t>
            </a:r>
          </a:p>
          <a:p>
            <a:pPr marL="742950" indent="-742950" algn="just">
              <a:lnSpc>
                <a:spcPct val="7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endParaRPr lang="en-US" dirty="0">
              <a:latin typeface="Verdana"/>
              <a:cs typeface="Verdana"/>
            </a:endParaRPr>
          </a:p>
          <a:p>
            <a:pPr marL="742950" indent="-742950" algn="just">
              <a:lnSpc>
                <a:spcPct val="7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dirty="0">
                <a:latin typeface="Verdana"/>
                <a:cs typeface="Verdana"/>
              </a:rPr>
              <a:t>Identify special conditions/analyses that may be required by international funding bodies</a:t>
            </a:r>
          </a:p>
          <a:p>
            <a:pPr marL="742950" indent="-742950" algn="just">
              <a:lnSpc>
                <a:spcPct val="7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endParaRPr lang="en-US" dirty="0">
              <a:latin typeface="Verdana"/>
              <a:cs typeface="Verdana"/>
            </a:endParaRPr>
          </a:p>
          <a:p>
            <a:pPr marL="742950" indent="-742950" algn="just">
              <a:lnSpc>
                <a:spcPct val="70000"/>
              </a:lnSpc>
              <a:spcBef>
                <a:spcPct val="0"/>
              </a:spcBef>
              <a:spcAft>
                <a:spcPct val="30000"/>
              </a:spcAft>
              <a:buClr>
                <a:srgbClr val="C00000"/>
              </a:buClr>
            </a:pPr>
            <a:r>
              <a:rPr lang="en-US" dirty="0">
                <a:latin typeface="Verdana"/>
                <a:cs typeface="Verdana"/>
              </a:rPr>
              <a:t>Categorize the project as one where:</a:t>
            </a:r>
          </a:p>
          <a:p>
            <a:pPr marL="1371600" lvl="1" indent="-457200" algn="just">
              <a:lnSpc>
                <a:spcPct val="70000"/>
              </a:lnSpc>
              <a:spcBef>
                <a:spcPct val="0"/>
              </a:spcBef>
              <a:spcAft>
                <a:spcPct val="30000"/>
              </a:spcAft>
              <a:buClr>
                <a:srgbClr val="C00000"/>
              </a:buClr>
            </a:pPr>
            <a:r>
              <a:rPr lang="en-US" dirty="0">
                <a:latin typeface="Verdana"/>
                <a:cs typeface="Verdana"/>
              </a:rPr>
              <a:t>Full-Scale EIA required</a:t>
            </a:r>
          </a:p>
          <a:p>
            <a:pPr marL="1371600" lvl="1" indent="-457200" algn="just">
              <a:lnSpc>
                <a:spcPct val="70000"/>
              </a:lnSpc>
              <a:spcBef>
                <a:spcPct val="0"/>
              </a:spcBef>
              <a:spcAft>
                <a:spcPct val="30000"/>
              </a:spcAft>
              <a:buClr>
                <a:srgbClr val="C00000"/>
              </a:buClr>
            </a:pPr>
            <a:r>
              <a:rPr lang="en-US" dirty="0">
                <a:latin typeface="Verdana"/>
                <a:cs typeface="Verdana"/>
              </a:rPr>
              <a:t>Some further environmental analysis required</a:t>
            </a:r>
          </a:p>
          <a:p>
            <a:pPr marL="1371600" lvl="1" indent="-457200" algn="just">
              <a:lnSpc>
                <a:spcPct val="70000"/>
              </a:lnSpc>
              <a:spcBef>
                <a:spcPct val="0"/>
              </a:spcBef>
              <a:spcAft>
                <a:spcPct val="30000"/>
              </a:spcAft>
              <a:buClr>
                <a:srgbClr val="C00000"/>
              </a:buClr>
            </a:pPr>
            <a:r>
              <a:rPr lang="en-US" dirty="0">
                <a:latin typeface="Verdana"/>
                <a:cs typeface="Verdana"/>
              </a:rPr>
              <a:t>No further environmental analysis required</a:t>
            </a:r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3FFA35-CA4F-4AA3-9AE3-E56271BDB8B9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42448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47738" y="744538"/>
            <a:ext cx="4962525" cy="3722687"/>
          </a:xfrm>
          <a:ln/>
        </p:spPr>
      </p:sp>
      <p:sp>
        <p:nvSpPr>
          <p:cNvPr id="727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es-ES"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47738" y="744538"/>
            <a:ext cx="4962525" cy="3722687"/>
          </a:xfrm>
          <a:ln/>
        </p:spPr>
      </p:sp>
      <p:sp>
        <p:nvSpPr>
          <p:cNvPr id="727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es-ES"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3B61BA-BC8E-9343-8767-AC436442196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3846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4D96B92A-8606-4061-83D6-92A2447E1931}" type="slidenum">
              <a:rPr lang="fr-FR" smtClean="0"/>
              <a:pPr eaLnBrk="1" hangingPunct="1"/>
              <a:t>14</a:t>
            </a:fld>
            <a:endParaRPr lang="fr-FR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274763" y="1085850"/>
            <a:ext cx="7240588" cy="54308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 eaLnBrk="1" hangingPunct="1">
              <a:spcBef>
                <a:spcPts val="1200"/>
              </a:spcBef>
              <a:spcAft>
                <a:spcPts val="600"/>
              </a:spcAft>
            </a:pPr>
            <a:endParaRPr lang="en-GB" sz="2400" dirty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</a:pPr>
            <a:endParaRPr lang="en-US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56209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" y="981075"/>
            <a:ext cx="9180513" cy="5876925"/>
          </a:xfrm>
          <a:prstGeom prst="rect">
            <a:avLst/>
          </a:prstGeom>
          <a:solidFill>
            <a:srgbClr val="0F5494"/>
          </a:solidFill>
          <a:ln w="25400">
            <a:solidFill>
              <a:srgbClr val="0F5494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  <a:cs typeface="ＭＳ Ｐゴシック" charset="0"/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9" y="258781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  <a:cs typeface="ＭＳ Ｐゴシック" charset="0"/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995738" y="2565418"/>
            <a:ext cx="5040312" cy="790575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pPr lvl="0"/>
            <a:r>
              <a:rPr lang="fr-BE" noProof="0"/>
              <a:t>Title</a:t>
            </a:r>
            <a:endParaRPr lang="en-GB" noProof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56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fr-BE" noProof="0"/>
              <a:t>Subtitle</a:t>
            </a:r>
            <a:endParaRPr lang="en-GB" noProof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charset="0"/>
              </a:defRPr>
            </a:lvl1pPr>
          </a:lstStyle>
          <a:p>
            <a:fld id="{A2FCDD82-3184-094C-8D62-2581BD1EC5E1}" type="slidenum">
              <a:rPr lang="en-GB">
                <a:solidFill>
                  <a:srgbClr val="FFFFFF"/>
                </a:solidFill>
              </a:rPr>
              <a:pPr/>
              <a:t>‹Nº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0150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FB1BDE13-CE4B-1E4A-824A-2F4CD1A08A7C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9085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22" y="1339850"/>
            <a:ext cx="2071687" cy="46815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C9D70B72-3DE1-DC47-A1C8-323CD5B2C9CA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7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989B88F7-18C3-2941-98CD-71B7F9BC40D0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9046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4034DDA2-4E52-2A41-AADD-69C959DFE293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0714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93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93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3510F2EC-6B41-164F-856B-8F9321481A3C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4899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4F2E421C-701B-7645-97E3-610B99339538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546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98710B1A-C2E2-AE46-B2EB-9764A9CE1785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8673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51C98BD0-6B2E-4240-8EC7-9F4FA3C6CCDC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7668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3" y="27306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7EB44F7C-27E9-0043-9A3C-A510B6A2FDF2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4503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7E8CB21-4386-D346-BB82-F9BC5C91459A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5205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14335283"/>
              </p:ext>
            </p:extLst>
          </p:nvPr>
        </p:nvGraphicFramePr>
        <p:xfrm>
          <a:off x="1589" y="160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60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39850"/>
            <a:ext cx="82296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492393"/>
            <a:ext cx="8229600" cy="3529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/>
              <a:t>Second level</a:t>
            </a:r>
            <a:endParaRPr lang="en-GB"/>
          </a:p>
          <a:p>
            <a:pPr lvl="1"/>
            <a:r>
              <a:rPr lang="en-GB"/>
              <a:t>Third level</a:t>
            </a:r>
          </a:p>
          <a:p>
            <a:pPr lvl="2"/>
            <a:r>
              <a:rPr lang="en-GB"/>
              <a:t>- Four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262441" y="6659581"/>
            <a:ext cx="611187" cy="19843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  <a:cs typeface="ＭＳ Ｐゴシック" charset="0"/>
            </a:endParaRPr>
          </a:p>
        </p:txBody>
      </p:sp>
      <p:pic>
        <p:nvPicPr>
          <p:cNvPr id="1033" name="Picture 17" descr="LOGO CE_Vertical_EN_NEG_quadri_HR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9" y="258781"/>
            <a:ext cx="143668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2931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ＭＳ Ｐゴシック" charset="0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5pPr>
      <a:lvl6pPr marL="8159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6pPr>
      <a:lvl7pPr marL="12731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7pPr>
      <a:lvl8pPr marL="17303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8pPr>
      <a:lvl9pPr marL="21875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260311" y="4692226"/>
            <a:ext cx="8532812" cy="1081087"/>
          </a:xfrm>
        </p:spPr>
        <p:txBody>
          <a:bodyPr/>
          <a:lstStyle/>
          <a:p>
            <a:pPr algn="ctr" eaLnBrk="1" hangingPunct="1"/>
            <a:r>
              <a:rPr lang="fr-BE" dirty="0">
                <a:solidFill>
                  <a:srgbClr val="FFFFFF"/>
                </a:solidFill>
                <a:latin typeface="Verdana" charset="0"/>
                <a:ea typeface="ＭＳ Ｐゴシック" charset="0"/>
              </a:rPr>
              <a:t>Module 3b: </a:t>
            </a:r>
          </a:p>
          <a:p>
            <a:pPr algn="ctr" eaLnBrk="1" hangingPunct="1"/>
            <a:r>
              <a:rPr lang="fr-BE" dirty="0">
                <a:solidFill>
                  <a:srgbClr val="FFFFFF"/>
                </a:solidFill>
                <a:latin typeface="Verdana" charset="0"/>
                <a:ea typeface="ＭＳ Ｐゴシック" charset="0"/>
              </a:rPr>
              <a:t>EIA, EMP and CRA</a:t>
            </a:r>
            <a:endParaRPr lang="en-GB" dirty="0">
              <a:latin typeface="Verdana" charset="0"/>
              <a:ea typeface="ＭＳ Ｐゴシック" charset="0"/>
            </a:endParaRP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03350" y="2164931"/>
            <a:ext cx="6172200" cy="790575"/>
          </a:xfrm>
        </p:spPr>
        <p:txBody>
          <a:bodyPr/>
          <a:lstStyle/>
          <a:p>
            <a:pPr marL="0" indent="1588" algn="ctr" eaLnBrk="1" hangingPunct="1"/>
            <a:r>
              <a:rPr lang="en-GB" sz="3200" dirty="0">
                <a:latin typeface="Verdana" charset="0"/>
                <a:ea typeface="ＭＳ Ｐゴシック" charset="0"/>
              </a:rPr>
              <a:t>Towards Sustainable Development – </a:t>
            </a:r>
            <a:br>
              <a:rPr lang="en-GB" sz="3200" dirty="0">
                <a:latin typeface="Verdana" charset="0"/>
                <a:ea typeface="ＭＳ Ｐゴシック" charset="0"/>
              </a:rPr>
            </a:br>
            <a:r>
              <a:rPr lang="en-GB" sz="3200" dirty="0">
                <a:latin typeface="Verdana" charset="0"/>
                <a:ea typeface="ＭＳ Ｐゴシック" charset="0"/>
              </a:rPr>
              <a:t>Greening EU Development Cooperation</a:t>
            </a:r>
            <a:endParaRPr lang="en-GB" sz="3600" dirty="0"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528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1026"/>
          <p:cNvSpPr>
            <a:spLocks noGrp="1" noChangeArrowheads="1"/>
          </p:cNvSpPr>
          <p:nvPr>
            <p:ph type="title"/>
          </p:nvPr>
        </p:nvSpPr>
        <p:spPr>
          <a:xfrm>
            <a:off x="685800" y="1189318"/>
            <a:ext cx="7772400" cy="1143000"/>
          </a:xfrm>
        </p:spPr>
        <p:txBody>
          <a:bodyPr/>
          <a:lstStyle/>
          <a:p>
            <a:pPr algn="ctr"/>
            <a:r>
              <a:rPr lang="en-US" sz="2800" dirty="0">
                <a:latin typeface="Verdana"/>
                <a:cs typeface="Verdana"/>
              </a:rPr>
              <a:t>EIA and biodiversity: </a:t>
            </a:r>
            <a:br>
              <a:rPr lang="en-US" sz="2800" dirty="0">
                <a:latin typeface="Verdana"/>
                <a:cs typeface="Verdana"/>
              </a:rPr>
            </a:br>
            <a:r>
              <a:rPr lang="en-US" sz="2800" dirty="0">
                <a:latin typeface="Verdana"/>
                <a:cs typeface="Verdana"/>
              </a:rPr>
              <a:t>the "mitigation" hierarchy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E3A8643-DEF6-3A46-9BDF-C39A34B0A8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9" y="2820695"/>
            <a:ext cx="9257785" cy="394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84504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vironmental Management Pl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9B88F7-18C3-2941-98CD-71B7F9BC40D0}" type="slidenum">
              <a:rPr lang="en-GB" smtClean="0">
                <a:solidFill>
                  <a:srgbClr val="000000"/>
                </a:solidFill>
              </a:rPr>
              <a:pPr/>
              <a:t>11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8" y="2492391"/>
            <a:ext cx="7705165" cy="3529013"/>
          </a:xfrm>
        </p:spPr>
        <p:txBody>
          <a:bodyPr/>
          <a:lstStyle/>
          <a:p>
            <a:pPr>
              <a:buClrTx/>
            </a:pPr>
            <a:r>
              <a:rPr lang="en-US" altLang="es-ES_tradnl" b="0" dirty="0"/>
              <a:t>Details for the implementation and monitoring of impact mitigation measures</a:t>
            </a:r>
          </a:p>
          <a:p>
            <a:pPr lvl="2"/>
            <a:r>
              <a:rPr lang="en-US" altLang="es-ES_tradnl" sz="1800" dirty="0"/>
              <a:t>What? Who? When? How much?</a:t>
            </a:r>
            <a:endParaRPr lang="en-US" altLang="es-ES_tradnl" sz="1800" b="0" dirty="0"/>
          </a:p>
          <a:p>
            <a:pPr lvl="1">
              <a:buClrTx/>
            </a:pPr>
            <a:r>
              <a:rPr lang="en-US" altLang="es-ES_tradnl" b="0" i="0" dirty="0"/>
              <a:t>Must be reflected in contractual documents</a:t>
            </a:r>
          </a:p>
          <a:p>
            <a:pPr marL="457200" lvl="1" indent="0">
              <a:buClrTx/>
              <a:buNone/>
            </a:pPr>
            <a:endParaRPr lang="en-US" altLang="es-ES_tradnl" b="0" i="0" dirty="0"/>
          </a:p>
          <a:p>
            <a:pPr>
              <a:buClrTx/>
            </a:pPr>
            <a:r>
              <a:rPr lang="en-US" altLang="es-ES_tradnl" i="0" dirty="0"/>
              <a:t>Link to monitoring and evaluation</a:t>
            </a:r>
          </a:p>
        </p:txBody>
      </p:sp>
    </p:spTree>
    <p:extLst>
      <p:ext uri="{BB962C8B-B14F-4D97-AF65-F5344CB8AC3E}">
        <p14:creationId xmlns:p14="http://schemas.microsoft.com/office/powerpoint/2010/main" val="11334447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1026"/>
          <p:cNvSpPr>
            <a:spLocks noGrp="1" noChangeArrowheads="1"/>
          </p:cNvSpPr>
          <p:nvPr>
            <p:ph type="title"/>
          </p:nvPr>
        </p:nvSpPr>
        <p:spPr>
          <a:xfrm>
            <a:off x="685800" y="1219200"/>
            <a:ext cx="7772400" cy="1143000"/>
          </a:xfrm>
        </p:spPr>
        <p:txBody>
          <a:bodyPr/>
          <a:lstStyle/>
          <a:p>
            <a:pPr algn="ctr"/>
            <a:r>
              <a:rPr lang="en-US" dirty="0">
                <a:latin typeface="Verdana"/>
                <a:cs typeface="Verdana"/>
              </a:rPr>
              <a:t>Common shortcomings in EIA systems</a:t>
            </a:r>
          </a:p>
        </p:txBody>
      </p:sp>
      <p:sp>
        <p:nvSpPr>
          <p:cNvPr id="7172" name="Rectangle 1027"/>
          <p:cNvSpPr>
            <a:spLocks noGrp="1" noChangeArrowheads="1"/>
          </p:cNvSpPr>
          <p:nvPr>
            <p:ph type="body" idx="1"/>
          </p:nvPr>
        </p:nvSpPr>
        <p:spPr>
          <a:xfrm>
            <a:off x="609600" y="2720991"/>
            <a:ext cx="7924800" cy="3146425"/>
          </a:xfrm>
        </p:spPr>
        <p:txBody>
          <a:bodyPr/>
          <a:lstStyle/>
          <a:p>
            <a:pPr algn="just"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cs typeface="Verdana"/>
              </a:rPr>
              <a:t>‘Catch-all’ approaches</a:t>
            </a:r>
            <a:endParaRPr lang="en-US" i="0" dirty="0">
              <a:latin typeface="Verdana"/>
              <a:cs typeface="Verdana"/>
            </a:endParaRPr>
          </a:p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solidFill>
                  <a:srgbClr val="00B0F0"/>
                </a:solidFill>
                <a:latin typeface="Verdana"/>
                <a:cs typeface="Verdana"/>
              </a:rPr>
              <a:t>Limited participation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Manipulation of data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solidFill>
                  <a:srgbClr val="00B0F0"/>
                </a:solidFill>
                <a:latin typeface="Verdana"/>
                <a:cs typeface="Verdana"/>
              </a:rPr>
              <a:t>‘Salami-slicing’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Unclear/un-precise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solidFill>
                  <a:srgbClr val="00B0F0"/>
                </a:solidFill>
                <a:latin typeface="Verdana"/>
                <a:cs typeface="Verdana"/>
              </a:rPr>
              <a:t>Little or no follow-up</a:t>
            </a:r>
          </a:p>
        </p:txBody>
      </p:sp>
    </p:spTree>
    <p:extLst>
      <p:ext uri="{BB962C8B-B14F-4D97-AF65-F5344CB8AC3E}">
        <p14:creationId xmlns:p14="http://schemas.microsoft.com/office/powerpoint/2010/main" val="26347989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03350" y="2164931"/>
            <a:ext cx="6172200" cy="790575"/>
          </a:xfrm>
        </p:spPr>
        <p:txBody>
          <a:bodyPr/>
          <a:lstStyle/>
          <a:p>
            <a:pPr marL="0" indent="1588" algn="ctr" eaLnBrk="1" hangingPunct="1"/>
            <a:r>
              <a:rPr lang="en-GB" sz="3200" dirty="0">
                <a:latin typeface="Verdana" charset="0"/>
                <a:ea typeface="ＭＳ Ｐゴシック" charset="0"/>
              </a:rPr>
              <a:t>Climate Risk Assessment</a:t>
            </a:r>
            <a:endParaRPr lang="en-GB" sz="3600" dirty="0"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4593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1501169"/>
            <a:ext cx="8305800" cy="553998"/>
          </a:xfrm>
        </p:spPr>
        <p:txBody>
          <a:bodyPr wrap="square">
            <a:spAutoFit/>
          </a:bodyPr>
          <a:lstStyle/>
          <a:p>
            <a:pPr indent="0" algn="ctr" eaLnBrk="1" hangingPunct="1"/>
            <a:r>
              <a:rPr lang="fr-BE" dirty="0" err="1">
                <a:ea typeface="ＭＳ Ｐゴシック" pitchFamily="34" charset="-128"/>
              </a:rPr>
              <a:t>Climate</a:t>
            </a:r>
            <a:r>
              <a:rPr lang="fr-BE" dirty="0">
                <a:ea typeface="ＭＳ Ｐゴシック" pitchFamily="34" charset="-128"/>
              </a:rPr>
              <a:t> Risk Assessment</a:t>
            </a:r>
            <a:endParaRPr lang="en-US" dirty="0">
              <a:ea typeface="ＭＳ Ｐゴシック" pitchFamily="34" charset="-128"/>
            </a:endParaRP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7848600" y="6245225"/>
            <a:ext cx="838200" cy="476250"/>
          </a:xfrm>
        </p:spPr>
        <p:txBody>
          <a:bodyPr/>
          <a:lstStyle/>
          <a:p>
            <a:pPr>
              <a:defRPr/>
            </a:pPr>
            <a:fld id="{027E957F-B300-422A-B6B4-3433560F52D7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381000" y="2445127"/>
            <a:ext cx="5791200" cy="367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Tx/>
              <a:buNone/>
              <a:defRPr/>
            </a:pPr>
            <a:r>
              <a:rPr lang="en-GB" sz="2000" i="1" dirty="0">
                <a:ea typeface="ＭＳ Ｐゴシック" pitchFamily="34" charset="-128"/>
              </a:rPr>
              <a:t>Ex ante </a:t>
            </a:r>
            <a:r>
              <a:rPr lang="en-GB" sz="2000" dirty="0">
                <a:ea typeface="ＭＳ Ｐゴシック" pitchFamily="34" charset="-128"/>
              </a:rPr>
              <a:t>assessment</a:t>
            </a:r>
          </a:p>
          <a:p>
            <a:pPr marL="266700" indent="-266700">
              <a:spcBef>
                <a:spcPts val="120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GB" dirty="0">
                <a:ea typeface="ＭＳ Ｐゴシック" pitchFamily="34" charset="-128"/>
              </a:rPr>
              <a:t>To reduce the project’s vulnerability to climate change </a:t>
            </a:r>
          </a:p>
          <a:p>
            <a:pPr marL="266700" indent="-266700">
              <a:spcBef>
                <a:spcPts val="120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GB" dirty="0">
                <a:solidFill>
                  <a:srgbClr val="00B0F0"/>
                </a:solidFill>
                <a:ea typeface="ＭＳ Ｐゴシック" pitchFamily="34" charset="-128"/>
              </a:rPr>
              <a:t>To reduce climate damage by preventive measures </a:t>
            </a:r>
          </a:p>
          <a:p>
            <a:pPr marL="266700" indent="-266700">
              <a:spcBef>
                <a:spcPts val="120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GB" dirty="0">
                <a:ea typeface="ＭＳ Ｐゴシック" pitchFamily="34" charset="-128"/>
              </a:rPr>
              <a:t>To optimise positive impacts</a:t>
            </a:r>
          </a:p>
          <a:p>
            <a:pPr marL="266700" indent="-266700">
              <a:spcBef>
                <a:spcPts val="120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GB" dirty="0">
                <a:solidFill>
                  <a:srgbClr val="00B0F0"/>
                </a:solidFill>
                <a:ea typeface="ＭＳ Ｐゴシック" pitchFamily="34" charset="-128"/>
              </a:rPr>
              <a:t>Through technical/scientific studies and stakeholder consultations</a:t>
            </a:r>
          </a:p>
          <a:p>
            <a:pPr marL="0" indent="0" eaLnBrk="1" hangingPunct="1">
              <a:spcBef>
                <a:spcPts val="1200"/>
              </a:spcBef>
              <a:spcAft>
                <a:spcPts val="600"/>
              </a:spcAft>
              <a:buFont typeface="Times" charset="0"/>
              <a:buNone/>
              <a:defRPr/>
            </a:pPr>
            <a:endParaRPr lang="en-GB" sz="1700" dirty="0">
              <a:ea typeface="ＭＳ Ｐゴシック" pitchFamily="34" charset="-128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9" y="3984094"/>
            <a:ext cx="2843807" cy="2843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21603261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itle 1"/>
          <p:cNvSpPr>
            <a:spLocks noGrp="1"/>
          </p:cNvSpPr>
          <p:nvPr>
            <p:ph type="title"/>
          </p:nvPr>
        </p:nvSpPr>
        <p:spPr>
          <a:xfrm>
            <a:off x="395288" y="1125554"/>
            <a:ext cx="8229600" cy="936625"/>
          </a:xfrm>
        </p:spPr>
        <p:txBody>
          <a:bodyPr/>
          <a:lstStyle/>
          <a:p>
            <a:pPr algn="ctr"/>
            <a:r>
              <a:rPr lang="en-US">
                <a:latin typeface="Verdana" charset="0"/>
              </a:rPr>
              <a:t>Climate-proofing infrastructure</a:t>
            </a:r>
          </a:p>
        </p:txBody>
      </p:sp>
      <p:sp>
        <p:nvSpPr>
          <p:cNvPr id="35842" name="Rectangle 3"/>
          <p:cNvSpPr>
            <a:spLocks noChangeArrowheads="1"/>
          </p:cNvSpPr>
          <p:nvPr/>
        </p:nvSpPr>
        <p:spPr bwMode="auto">
          <a:xfrm>
            <a:off x="179396" y="188929"/>
            <a:ext cx="8713787" cy="6408737"/>
          </a:xfrm>
          <a:prstGeom prst="rect">
            <a:avLst/>
          </a:prstGeom>
          <a:noFill/>
          <a:ln w="38100">
            <a:solidFill>
              <a:srgbClr val="FF236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3175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012160" y="260648"/>
            <a:ext cx="2808312" cy="58477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3200" b="1" dirty="0">
                <a:ln>
                  <a:solidFill>
                    <a:srgbClr val="FF0000"/>
                  </a:solidFill>
                </a:ln>
                <a:solidFill>
                  <a:schemeClr val="bg1"/>
                </a:solidFill>
              </a:rPr>
              <a:t>Example</a:t>
            </a:r>
          </a:p>
        </p:txBody>
      </p:sp>
      <p:pic>
        <p:nvPicPr>
          <p:cNvPr id="6" name="Content Placeholder 4"/>
          <p:cNvPicPr>
            <a:picLocks noGrp="1" noChangeAspect="1"/>
          </p:cNvPicPr>
          <p:nvPr>
            <p:ph sz="half" idx="4294967295"/>
          </p:nvPr>
        </p:nvPicPr>
        <p:blipFill rotWithShape="1">
          <a:blip r:embed="rId2"/>
          <a:srcRect l="8284" r="-83" b="-19119"/>
          <a:stretch/>
        </p:blipFill>
        <p:spPr>
          <a:xfrm>
            <a:off x="3563938" y="2349500"/>
            <a:ext cx="5181600" cy="3924300"/>
          </a:xfr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sp>
        <p:nvSpPr>
          <p:cNvPr id="35845" name="TextBox 7"/>
          <p:cNvSpPr txBox="1">
            <a:spLocks noChangeArrowheads="1"/>
          </p:cNvSpPr>
          <p:nvPr/>
        </p:nvSpPr>
        <p:spPr bwMode="auto">
          <a:xfrm>
            <a:off x="3563938" y="2565408"/>
            <a:ext cx="1439862" cy="52322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400" b="1">
                <a:solidFill>
                  <a:schemeClr val="tx1"/>
                </a:solidFill>
              </a:rPr>
              <a:t>Probability (%)</a:t>
            </a:r>
          </a:p>
        </p:txBody>
      </p:sp>
      <p:sp>
        <p:nvSpPr>
          <p:cNvPr id="35846" name="TextBox 8"/>
          <p:cNvSpPr txBox="1">
            <a:spLocks noChangeArrowheads="1"/>
          </p:cNvSpPr>
          <p:nvPr/>
        </p:nvSpPr>
        <p:spPr bwMode="auto">
          <a:xfrm>
            <a:off x="5148271" y="5805504"/>
            <a:ext cx="3455987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400" b="1">
                <a:solidFill>
                  <a:schemeClr val="tx1"/>
                </a:solidFill>
              </a:rPr>
              <a:t>Return period for design</a:t>
            </a:r>
          </a:p>
        </p:txBody>
      </p:sp>
      <p:sp>
        <p:nvSpPr>
          <p:cNvPr id="35847" name="Content Placeholder 2"/>
          <p:cNvSpPr>
            <a:spLocks noGrp="1"/>
          </p:cNvSpPr>
          <p:nvPr>
            <p:ph idx="1"/>
          </p:nvPr>
        </p:nvSpPr>
        <p:spPr>
          <a:xfrm>
            <a:off x="468321" y="2320941"/>
            <a:ext cx="2879725" cy="4060825"/>
          </a:xfrm>
        </p:spPr>
        <p:txBody>
          <a:bodyPr/>
          <a:lstStyle/>
          <a:p>
            <a:pPr>
              <a:buClrTx/>
            </a:pPr>
            <a:r>
              <a:rPr lang="en-GB" i="0">
                <a:latin typeface="Verdana" charset="0"/>
              </a:rPr>
              <a:t>What are the characteristics of the weather events for the given return period expected under climate change?</a:t>
            </a:r>
          </a:p>
        </p:txBody>
      </p:sp>
    </p:spTree>
    <p:extLst>
      <p:ext uri="{BB962C8B-B14F-4D97-AF65-F5344CB8AC3E}">
        <p14:creationId xmlns:p14="http://schemas.microsoft.com/office/powerpoint/2010/main" val="3079462728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702948" y="2621662"/>
            <a:ext cx="5220653" cy="301047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884" lvl="1" indent="0">
              <a:buNone/>
              <a:defRPr/>
            </a:pPr>
            <a:endParaRPr lang="en-GB" sz="600" dirty="0">
              <a:solidFill>
                <a:prstClr val="black"/>
              </a:solidFill>
            </a:endParaRPr>
          </a:p>
          <a:p>
            <a:pPr marL="190679" lvl="1" indent="0">
              <a:buNone/>
              <a:defRPr/>
            </a:pPr>
            <a:endParaRPr lang="en-GB" sz="1800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80715" y="1220816"/>
            <a:ext cx="74992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s-ES_tradnl" sz="3000" b="1" dirty="0">
                <a:solidFill>
                  <a:srgbClr val="FFCC00"/>
                </a:solidFill>
                <a:latin typeface="Helvetica" pitchFamily="34" charset="0"/>
              </a:rPr>
              <a:t>Anguilla Solar PV project</a:t>
            </a: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284966" y="2109223"/>
            <a:ext cx="4684446" cy="3694993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es-ES_tradnl" sz="1800" dirty="0">
                <a:solidFill>
                  <a:prstClr val="white"/>
                </a:solidFill>
                <a:latin typeface="EC Square Sans Pro Medium" panose="020B050000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MW grid-connected, ground mounted Solar PV Project</a:t>
            </a:r>
          </a:p>
          <a:p>
            <a:pPr algn="l"/>
            <a:r>
              <a:rPr lang="en-US" altLang="es-ES_tradnl" sz="1800" dirty="0">
                <a:solidFill>
                  <a:prstClr val="white"/>
                </a:solidFill>
                <a:latin typeface="EC Square Sans Pro Medium" panose="020B050000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IB Required a </a:t>
            </a:r>
          </a:p>
          <a:p>
            <a:pPr algn="l"/>
            <a:r>
              <a:rPr lang="en-US" altLang="es-ES_tradnl" sz="1800" dirty="0">
                <a:solidFill>
                  <a:srgbClr val="FFCC00"/>
                </a:solidFill>
                <a:latin typeface="EC Square Sans Pro Medium" panose="020B050000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mate Vulnerability Assessment</a:t>
            </a:r>
            <a:endParaRPr lang="en-US" altLang="es-ES_tradnl" sz="1800" u="sng" dirty="0">
              <a:solidFill>
                <a:prstClr val="black"/>
              </a:solidFill>
              <a:latin typeface="EC Square Sans Pro Medium" panose="020B0500000000020004" pitchFamily="34" charset="0"/>
            </a:endParaRPr>
          </a:p>
          <a:p>
            <a:pPr algn="l"/>
            <a:r>
              <a:rPr lang="en-US" altLang="es-ES_tradnl" sz="1800" b="1" dirty="0">
                <a:solidFill>
                  <a:prstClr val="white"/>
                </a:solidFill>
                <a:latin typeface="EC Square Sans Pro Medium" panose="020B050000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ND PV Plant most sensitive to wind</a:t>
            </a:r>
          </a:p>
          <a:p>
            <a:pPr marL="338138" indent="-207169" algn="l">
              <a:buClr>
                <a:srgbClr val="FFCC00"/>
              </a:buClr>
              <a:buFont typeface="Arial" panose="020B0604020202020204" pitchFamily="34" charset="0"/>
              <a:buChar char="•"/>
            </a:pPr>
            <a:r>
              <a:rPr lang="en-US" altLang="es-ES_tradnl" sz="1500" b="1" dirty="0">
                <a:solidFill>
                  <a:prstClr val="white"/>
                </a:solidFill>
                <a:latin typeface="EC Square Sans"/>
                <a:ea typeface="Verdana" panose="020B0604030504040204" pitchFamily="34" charset="0"/>
                <a:cs typeface="Verdana" panose="020B0604030504040204" pitchFamily="34" charset="0"/>
              </a:rPr>
              <a:t>Data show wind gusts up to 140 mph</a:t>
            </a:r>
          </a:p>
          <a:p>
            <a:pPr marL="338138" indent="-207169" algn="l">
              <a:buClr>
                <a:srgbClr val="FFCC00"/>
              </a:buClr>
              <a:buFont typeface="Arial" panose="020B0604020202020204" pitchFamily="34" charset="0"/>
              <a:buChar char="•"/>
            </a:pPr>
            <a:r>
              <a:rPr lang="en-US" altLang="es-ES_tradnl" sz="1500" b="1" dirty="0">
                <a:solidFill>
                  <a:prstClr val="white"/>
                </a:solidFill>
                <a:latin typeface="EC Square Sans"/>
                <a:ea typeface="Verdana" panose="020B0604030504040204" pitchFamily="34" charset="0"/>
                <a:cs typeface="Verdana" panose="020B0604030504040204" pitchFamily="34" charset="0"/>
              </a:rPr>
              <a:t>Could damage system components</a:t>
            </a:r>
          </a:p>
          <a:p>
            <a:pPr marL="338138" indent="-207169" algn="l">
              <a:buClr>
                <a:srgbClr val="FFCC00"/>
              </a:buClr>
              <a:buFont typeface="Arial" panose="020B0604020202020204" pitchFamily="34" charset="0"/>
              <a:buChar char="•"/>
            </a:pPr>
            <a:r>
              <a:rPr lang="en-US" altLang="es-ES_tradnl" sz="1500" b="1" dirty="0">
                <a:solidFill>
                  <a:prstClr val="white"/>
                </a:solidFill>
                <a:latin typeface="EC Square Sans"/>
                <a:ea typeface="Verdana" panose="020B0604030504040204" pitchFamily="34" charset="0"/>
                <a:cs typeface="Verdana" panose="020B0604030504040204" pitchFamily="34" charset="0"/>
              </a:rPr>
              <a:t>Corrected for CC: projected gusts of 155 mph</a:t>
            </a:r>
          </a:p>
          <a:p>
            <a:pPr marL="338138" indent="-207169" algn="l">
              <a:buClr>
                <a:srgbClr val="FFCC00"/>
              </a:buClr>
              <a:buFont typeface="Arial" panose="020B0604020202020204" pitchFamily="34" charset="0"/>
              <a:buChar char="•"/>
            </a:pPr>
            <a:r>
              <a:rPr lang="en-US" altLang="es-ES_tradnl" sz="1500" b="1" dirty="0">
                <a:solidFill>
                  <a:prstClr val="white"/>
                </a:solidFill>
                <a:latin typeface="EC Square Sans"/>
                <a:ea typeface="Verdana" panose="020B0604030504040204" pitchFamily="34" charset="0"/>
                <a:cs typeface="Verdana" panose="020B0604030504040204" pitchFamily="34" charset="0"/>
              </a:rPr>
              <a:t>Other data: increase in Category 4 and 5 hurricanes</a:t>
            </a:r>
          </a:p>
          <a:p>
            <a:pPr marL="338138" indent="-207169" algn="l">
              <a:buClr>
                <a:srgbClr val="FFCC00"/>
              </a:buClr>
              <a:buFont typeface="Arial" panose="020B0604020202020204" pitchFamily="34" charset="0"/>
              <a:buChar char="•"/>
            </a:pPr>
            <a:r>
              <a:rPr lang="en-US" altLang="es-ES_tradnl" sz="1500" b="1" dirty="0">
                <a:solidFill>
                  <a:prstClr val="white"/>
                </a:solidFill>
                <a:latin typeface="EC Square Sans"/>
                <a:ea typeface="Verdana" panose="020B0604030504040204" pitchFamily="34" charset="0"/>
                <a:cs typeface="Verdana" panose="020B0604030504040204" pitchFamily="34" charset="0"/>
              </a:rPr>
              <a:t>Thus, </a:t>
            </a:r>
            <a:r>
              <a:rPr lang="en-US" altLang="es-ES_tradnl" sz="1500" b="1" dirty="0">
                <a:solidFill>
                  <a:srgbClr val="FFC000"/>
                </a:solidFill>
                <a:latin typeface="EC Square Sans"/>
                <a:ea typeface="Verdana" panose="020B0604030504040204" pitchFamily="34" charset="0"/>
                <a:cs typeface="Verdana" panose="020B0604030504040204" pitchFamily="34" charset="0"/>
              </a:rPr>
              <a:t>design for the above 1 in 150 year events</a:t>
            </a:r>
          </a:p>
          <a:p>
            <a:pPr algn="l"/>
            <a:endParaRPr lang="en-US" altLang="es-ES_tradnl" sz="1800" b="1" dirty="0">
              <a:solidFill>
                <a:prstClr val="white"/>
              </a:solidFill>
              <a:latin typeface="EC Square Sans Pro Medium" panose="020B05000000000200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326EF1-BE34-48F3-9693-DCB4EFBA75FC}"/>
              </a:ext>
            </a:extLst>
          </p:cNvPr>
          <p:cNvSpPr/>
          <p:nvPr/>
        </p:nvSpPr>
        <p:spPr>
          <a:xfrm>
            <a:off x="284966" y="1243900"/>
            <a:ext cx="1840568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700" b="1" dirty="0">
                <a:solidFill>
                  <a:srgbClr val="0F549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ample</a:t>
            </a:r>
            <a:endParaRPr lang="en-US" sz="2700" dirty="0">
              <a:solidFill>
                <a:prstClr val="black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547B3DD-785E-4F09-8235-C9B74B3DF486}"/>
              </a:ext>
            </a:extLst>
          </p:cNvPr>
          <p:cNvCxnSpPr>
            <a:cxnSpLocks/>
          </p:cNvCxnSpPr>
          <p:nvPr/>
        </p:nvCxnSpPr>
        <p:spPr>
          <a:xfrm>
            <a:off x="2329841" y="1063114"/>
            <a:ext cx="0" cy="846320"/>
          </a:xfrm>
          <a:prstGeom prst="line">
            <a:avLst/>
          </a:prstGeom>
          <a:ln w="63500" cmpd="sng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http://futurepowernow.files.wordpress.com/2014/04/3_fpn_solar-photovoltaic-module_solar-energy-systems.jpg">
            <a:extLst>
              <a:ext uri="{FF2B5EF4-FFF2-40B4-BE49-F238E27FC236}">
                <a16:creationId xmlns:a16="http://schemas.microsoft.com/office/drawing/2014/main" id="{77E7CACB-E370-4866-BA26-6DA26D8685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2895" y="2113992"/>
            <a:ext cx="3757128" cy="3694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9982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03350" y="2164931"/>
            <a:ext cx="6172200" cy="790575"/>
          </a:xfrm>
        </p:spPr>
        <p:txBody>
          <a:bodyPr/>
          <a:lstStyle/>
          <a:p>
            <a:pPr marL="0" indent="1588" algn="ctr" eaLnBrk="1" hangingPunct="1"/>
            <a:r>
              <a:rPr lang="en-GB" sz="3200" dirty="0">
                <a:latin typeface="Verdana" charset="0"/>
                <a:ea typeface="ＭＳ Ｐゴシック" charset="0"/>
              </a:rPr>
              <a:t>Environmental Impact Assessment</a:t>
            </a:r>
            <a:endParaRPr lang="en-GB" sz="3600" dirty="0"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4593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Environmental</a:t>
            </a:r>
            <a:r>
              <a:rPr lang="es-ES" dirty="0"/>
              <a:t> </a:t>
            </a:r>
            <a:r>
              <a:rPr lang="es-ES" dirty="0" err="1"/>
              <a:t>Impact</a:t>
            </a:r>
            <a:r>
              <a:rPr lang="es-ES" dirty="0"/>
              <a:t> </a:t>
            </a:r>
            <a:r>
              <a:rPr lang="es-ES" dirty="0" err="1"/>
              <a:t>Assessment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i="0" dirty="0"/>
              <a:t>“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process</a:t>
            </a:r>
            <a:r>
              <a:rPr lang="es-ES" dirty="0"/>
              <a:t> of </a:t>
            </a:r>
            <a:r>
              <a:rPr lang="es-ES" dirty="0" err="1"/>
              <a:t>identifying</a:t>
            </a:r>
            <a:r>
              <a:rPr lang="es-ES" dirty="0"/>
              <a:t>, </a:t>
            </a:r>
            <a:r>
              <a:rPr lang="es-ES" dirty="0" err="1"/>
              <a:t>predicting</a:t>
            </a:r>
            <a:r>
              <a:rPr lang="es-ES" dirty="0"/>
              <a:t>, </a:t>
            </a:r>
            <a:r>
              <a:rPr lang="es-ES" dirty="0" err="1"/>
              <a:t>evaluating</a:t>
            </a:r>
            <a:r>
              <a:rPr lang="es-ES" dirty="0"/>
              <a:t> and </a:t>
            </a:r>
            <a:r>
              <a:rPr lang="es-ES" dirty="0" err="1"/>
              <a:t>mitigating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bio</a:t>
            </a:r>
            <a:r>
              <a:rPr lang="es-ES" dirty="0"/>
              <a:t>- </a:t>
            </a:r>
            <a:r>
              <a:rPr lang="es-ES" dirty="0" err="1"/>
              <a:t>physical</a:t>
            </a:r>
            <a:r>
              <a:rPr lang="es-ES" dirty="0"/>
              <a:t>, social, and </a:t>
            </a:r>
            <a:r>
              <a:rPr lang="es-ES" dirty="0" err="1"/>
              <a:t>other</a:t>
            </a:r>
            <a:r>
              <a:rPr lang="es-ES" dirty="0"/>
              <a:t> </a:t>
            </a:r>
            <a:r>
              <a:rPr lang="es-ES" dirty="0" err="1"/>
              <a:t>relevant</a:t>
            </a:r>
            <a:r>
              <a:rPr lang="es-ES" dirty="0"/>
              <a:t> </a:t>
            </a:r>
            <a:r>
              <a:rPr lang="es-ES" dirty="0" err="1"/>
              <a:t>effects</a:t>
            </a:r>
            <a:r>
              <a:rPr lang="es-ES" dirty="0"/>
              <a:t> of </a:t>
            </a:r>
            <a:r>
              <a:rPr lang="es-ES" dirty="0" err="1"/>
              <a:t>development</a:t>
            </a:r>
            <a:r>
              <a:rPr lang="es-ES" dirty="0"/>
              <a:t> </a:t>
            </a:r>
            <a:r>
              <a:rPr lang="es-ES" dirty="0" err="1"/>
              <a:t>proposals</a:t>
            </a:r>
            <a:r>
              <a:rPr lang="es-ES" dirty="0"/>
              <a:t> prior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major</a:t>
            </a:r>
            <a:r>
              <a:rPr lang="es-ES" dirty="0"/>
              <a:t> </a:t>
            </a:r>
            <a:r>
              <a:rPr lang="es-ES" dirty="0" err="1"/>
              <a:t>decisions</a:t>
            </a:r>
            <a:r>
              <a:rPr lang="es-ES" dirty="0"/>
              <a:t> </a:t>
            </a:r>
            <a:r>
              <a:rPr lang="es-ES" dirty="0" err="1"/>
              <a:t>being</a:t>
            </a:r>
            <a:r>
              <a:rPr lang="es-ES" dirty="0"/>
              <a:t> </a:t>
            </a:r>
            <a:r>
              <a:rPr lang="es-ES" dirty="0" err="1"/>
              <a:t>taken</a:t>
            </a:r>
            <a:r>
              <a:rPr lang="es-ES" dirty="0"/>
              <a:t> and </a:t>
            </a:r>
            <a:r>
              <a:rPr lang="es-ES" dirty="0" err="1"/>
              <a:t>commitments</a:t>
            </a:r>
            <a:r>
              <a:rPr lang="es-ES" dirty="0"/>
              <a:t> </a:t>
            </a:r>
            <a:r>
              <a:rPr lang="es-ES" dirty="0" err="1"/>
              <a:t>made</a:t>
            </a:r>
            <a:r>
              <a:rPr lang="es-ES" dirty="0"/>
              <a:t>.” </a:t>
            </a:r>
          </a:p>
          <a:p>
            <a:pPr algn="r"/>
            <a:r>
              <a:rPr lang="es-ES" sz="1800" i="0" dirty="0"/>
              <a:t>– IAIA (International </a:t>
            </a:r>
            <a:r>
              <a:rPr lang="es-ES" sz="1800" i="0" dirty="0" err="1"/>
              <a:t>Association</a:t>
            </a:r>
            <a:r>
              <a:rPr lang="es-ES" sz="1800" i="0" dirty="0"/>
              <a:t> </a:t>
            </a:r>
            <a:r>
              <a:rPr lang="es-ES" sz="1800" i="0" dirty="0" err="1"/>
              <a:t>for</a:t>
            </a:r>
            <a:r>
              <a:rPr lang="es-ES" sz="1800" i="0" dirty="0"/>
              <a:t> </a:t>
            </a:r>
            <a:r>
              <a:rPr lang="es-ES" sz="1800" i="0" dirty="0" err="1"/>
              <a:t>Impact</a:t>
            </a:r>
            <a:r>
              <a:rPr lang="es-ES" sz="1800" i="0" dirty="0"/>
              <a:t> </a:t>
            </a:r>
            <a:r>
              <a:rPr lang="es-ES" sz="1800" i="0" dirty="0" err="1"/>
              <a:t>Assessment</a:t>
            </a:r>
            <a:r>
              <a:rPr lang="es-ES" sz="1800" i="0" dirty="0"/>
              <a:t>)</a:t>
            </a:r>
            <a:endParaRPr lang="es-ES" sz="1800" dirty="0"/>
          </a:p>
          <a:p>
            <a:endParaRPr lang="es-ES" i="0" dirty="0"/>
          </a:p>
          <a:p>
            <a:endParaRPr lang="es-ES" i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741962-E197-41CB-93F9-81D06FF60593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12751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273175"/>
            <a:ext cx="8229600" cy="936625"/>
          </a:xfrm>
        </p:spPr>
        <p:txBody>
          <a:bodyPr/>
          <a:lstStyle/>
          <a:p>
            <a:r>
              <a:rPr lang="en-US" dirty="0"/>
              <a:t>Key objectives of E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741962-E197-41CB-93F9-81D06FF60593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5" name="Rectangle 1027"/>
          <p:cNvSpPr txBox="1">
            <a:spLocks noChangeArrowheads="1"/>
          </p:cNvSpPr>
          <p:nvPr/>
        </p:nvSpPr>
        <p:spPr bwMode="auto">
          <a:xfrm>
            <a:off x="246185" y="2568575"/>
            <a:ext cx="8598877" cy="314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sz="2000" i="0" dirty="0">
                <a:latin typeface="Verdana"/>
                <a:cs typeface="Verdana"/>
              </a:rPr>
              <a:t>Ensure </a:t>
            </a:r>
            <a:r>
              <a:rPr lang="en-US" sz="2000" b="1" i="0" dirty="0">
                <a:latin typeface="Verdana"/>
                <a:cs typeface="Verdana"/>
              </a:rPr>
              <a:t>environmental considerations are explicitly addressed </a:t>
            </a:r>
            <a:r>
              <a:rPr lang="en-US" sz="2000" i="0" dirty="0">
                <a:latin typeface="Verdana"/>
                <a:cs typeface="Verdana"/>
              </a:rPr>
              <a:t>and incorporated into the decision-making process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sz="2000" b="1" i="0" dirty="0">
                <a:latin typeface="Verdana"/>
                <a:cs typeface="Verdana"/>
              </a:rPr>
              <a:t>Anticipate and avoid, </a:t>
            </a:r>
            <a:r>
              <a:rPr lang="en-US" sz="2000" b="1" i="0" dirty="0" err="1">
                <a:latin typeface="Verdana"/>
                <a:cs typeface="Verdana"/>
              </a:rPr>
              <a:t>minimise</a:t>
            </a:r>
            <a:r>
              <a:rPr lang="en-US" sz="2000" b="1" i="0" dirty="0">
                <a:latin typeface="Verdana"/>
                <a:cs typeface="Verdana"/>
              </a:rPr>
              <a:t> and offset </a:t>
            </a:r>
            <a:r>
              <a:rPr lang="en-US" sz="2000" i="0" dirty="0">
                <a:latin typeface="Verdana"/>
                <a:cs typeface="Verdana"/>
              </a:rPr>
              <a:t>the adverse significant biophysical, social and other relevant effects of development proposals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sz="2000" b="1" i="0" dirty="0">
                <a:latin typeface="Verdana"/>
                <a:cs typeface="Verdana"/>
              </a:rPr>
              <a:t>Protect</a:t>
            </a:r>
            <a:r>
              <a:rPr lang="en-US" sz="2000" i="0" dirty="0">
                <a:latin typeface="Verdana"/>
                <a:cs typeface="Verdana"/>
              </a:rPr>
              <a:t> the productivity and capacity of </a:t>
            </a:r>
            <a:r>
              <a:rPr lang="en-US" sz="2000" b="1" i="0" dirty="0">
                <a:latin typeface="Verdana"/>
                <a:cs typeface="Verdana"/>
              </a:rPr>
              <a:t>natural systems </a:t>
            </a:r>
            <a:r>
              <a:rPr lang="en-US" sz="2000" i="0" dirty="0">
                <a:latin typeface="Verdana"/>
                <a:cs typeface="Verdana"/>
              </a:rPr>
              <a:t>and the ecological processes which maintain their functions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sz="2000" i="0" dirty="0">
                <a:latin typeface="Verdana"/>
                <a:cs typeface="Verdana"/>
              </a:rPr>
              <a:t>Promote development that is sustainable and </a:t>
            </a:r>
            <a:r>
              <a:rPr lang="en-US" sz="2000" i="0" dirty="0" err="1">
                <a:latin typeface="Verdana"/>
                <a:cs typeface="Verdana"/>
              </a:rPr>
              <a:t>optimises</a:t>
            </a:r>
            <a:r>
              <a:rPr lang="en-US" sz="2000" i="0" dirty="0">
                <a:latin typeface="Verdana"/>
                <a:cs typeface="Verdana"/>
              </a:rPr>
              <a:t> resource use and management opportunities.</a:t>
            </a:r>
          </a:p>
          <a:p>
            <a:pPr marL="0" indent="0" algn="r"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  <a:buNone/>
            </a:pPr>
            <a:r>
              <a:rPr lang="en-US" sz="1800" i="0" dirty="0">
                <a:latin typeface="Verdana"/>
                <a:cs typeface="Verdana"/>
              </a:rPr>
              <a:t>(IAIA)</a:t>
            </a:r>
          </a:p>
        </p:txBody>
      </p:sp>
    </p:spTree>
    <p:extLst>
      <p:ext uri="{BB962C8B-B14F-4D97-AF65-F5344CB8AC3E}">
        <p14:creationId xmlns:p14="http://schemas.microsoft.com/office/powerpoint/2010/main" val="26884170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066816"/>
            <a:ext cx="8229600" cy="936625"/>
          </a:xfrm>
        </p:spPr>
        <p:txBody>
          <a:bodyPr/>
          <a:lstStyle/>
          <a:p>
            <a:pPr algn="ctr"/>
            <a:r>
              <a:rPr lang="en-US" dirty="0"/>
              <a:t>Key aspects around E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741962-E197-41CB-93F9-81D06FF60593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5" name="Rectangle 1027"/>
          <p:cNvSpPr txBox="1">
            <a:spLocks noChangeArrowheads="1"/>
          </p:cNvSpPr>
          <p:nvPr/>
        </p:nvSpPr>
        <p:spPr bwMode="auto">
          <a:xfrm>
            <a:off x="246193" y="2183975"/>
            <a:ext cx="8598877" cy="314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Widely established world-wide Applicable to projects with </a:t>
            </a:r>
            <a:r>
              <a:rPr lang="en-US" i="0" dirty="0">
                <a:solidFill>
                  <a:srgbClr val="008000"/>
                </a:solidFill>
                <a:latin typeface="Verdana"/>
                <a:cs typeface="Verdana"/>
              </a:rPr>
              <a:t>potential significant adverse impacts on the environment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solidFill>
                  <a:srgbClr val="008000"/>
                </a:solidFill>
                <a:latin typeface="Verdana"/>
                <a:cs typeface="Verdana"/>
              </a:rPr>
              <a:t>Decision-informing </a:t>
            </a:r>
            <a:r>
              <a:rPr lang="en-US" i="0" dirty="0">
                <a:latin typeface="Verdana"/>
                <a:cs typeface="Verdana"/>
              </a:rPr>
              <a:t>in development consent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Traditionally impact-centered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Often also addresses socio-economic impacts (ESIA)</a:t>
            </a:r>
          </a:p>
          <a:p>
            <a:pPr marL="0" indent="0"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  <a:buNone/>
            </a:pPr>
            <a:endParaRPr lang="en-US" i="0" dirty="0"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4600535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1026"/>
          <p:cNvSpPr>
            <a:spLocks noGrp="1" noChangeArrowheads="1"/>
          </p:cNvSpPr>
          <p:nvPr>
            <p:ph type="title"/>
          </p:nvPr>
        </p:nvSpPr>
        <p:spPr>
          <a:xfrm>
            <a:off x="685800" y="990600"/>
            <a:ext cx="7772400" cy="1143000"/>
          </a:xfrm>
        </p:spPr>
        <p:txBody>
          <a:bodyPr/>
          <a:lstStyle/>
          <a:p>
            <a:pPr algn="ctr"/>
            <a:r>
              <a:rPr lang="en-US" dirty="0">
                <a:latin typeface="Verdana"/>
                <a:cs typeface="Verdana"/>
              </a:rPr>
              <a:t>EIA principles</a:t>
            </a:r>
          </a:p>
        </p:txBody>
      </p:sp>
      <p:sp>
        <p:nvSpPr>
          <p:cNvPr id="7172" name="Rectangle 1027"/>
          <p:cNvSpPr>
            <a:spLocks noGrp="1" noChangeArrowheads="1"/>
          </p:cNvSpPr>
          <p:nvPr>
            <p:ph type="body" idx="1"/>
          </p:nvPr>
        </p:nvSpPr>
        <p:spPr>
          <a:xfrm>
            <a:off x="990600" y="2286000"/>
            <a:ext cx="7162800" cy="3146425"/>
          </a:xfrm>
        </p:spPr>
        <p:txBody>
          <a:bodyPr/>
          <a:lstStyle/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Early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Transparent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Participatory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Independent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Rigorous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Objective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Clear</a:t>
            </a:r>
          </a:p>
        </p:txBody>
      </p:sp>
    </p:spTree>
    <p:extLst>
      <p:ext uri="{BB962C8B-B14F-4D97-AF65-F5344CB8AC3E}">
        <p14:creationId xmlns:p14="http://schemas.microsoft.com/office/powerpoint/2010/main" val="6991138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9F91F8-467A-9544-BFE3-36F26AAE7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186481"/>
            <a:ext cx="8229600" cy="936625"/>
          </a:xfrm>
        </p:spPr>
        <p:txBody>
          <a:bodyPr/>
          <a:lstStyle/>
          <a:p>
            <a:r>
              <a:rPr lang="es-ES" dirty="0"/>
              <a:t>EIA </a:t>
            </a:r>
            <a:r>
              <a:rPr lang="es-ES" dirty="0" err="1"/>
              <a:t>regulatory</a:t>
            </a:r>
            <a:r>
              <a:rPr lang="es-ES" dirty="0"/>
              <a:t> </a:t>
            </a:r>
            <a:r>
              <a:rPr lang="es-ES" dirty="0" err="1"/>
              <a:t>framework</a:t>
            </a:r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034F314-2296-0441-B9A0-DF67202BA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9B88F7-18C3-2941-98CD-71B7F9BC40D0}" type="slidenum">
              <a:rPr lang="en-GB" smtClean="0">
                <a:solidFill>
                  <a:srgbClr val="000000"/>
                </a:solidFill>
              </a:rPr>
              <a:pPr/>
              <a:t>7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1027">
            <a:extLst>
              <a:ext uri="{FF2B5EF4-FFF2-40B4-BE49-F238E27FC236}">
                <a16:creationId xmlns:a16="http://schemas.microsoft.com/office/drawing/2014/main" id="{6C187DAE-A58F-2B41-A875-EC00B7408F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193" y="2385453"/>
            <a:ext cx="8598877" cy="314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Use of </a:t>
            </a:r>
            <a:r>
              <a:rPr lang="en-US" i="0" u="sng" dirty="0">
                <a:latin typeface="Verdana"/>
                <a:cs typeface="Verdana"/>
              </a:rPr>
              <a:t>national systems </a:t>
            </a:r>
            <a:r>
              <a:rPr lang="en-US" i="0" dirty="0">
                <a:latin typeface="Verdana"/>
                <a:cs typeface="Verdana"/>
              </a:rPr>
              <a:t>– unless not up to standard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EIA Directive</a:t>
            </a:r>
            <a:r>
              <a:rPr lang="en-US" sz="2000" dirty="0">
                <a:latin typeface="Verdana"/>
                <a:cs typeface="Verdana"/>
              </a:rPr>
              <a:t> (2011/92/EU amended by 2014/52/EU)</a:t>
            </a:r>
            <a:endParaRPr lang="en-US" dirty="0">
              <a:latin typeface="Verdana"/>
              <a:cs typeface="Verdana"/>
            </a:endParaRP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dirty="0">
                <a:latin typeface="Verdana"/>
                <a:cs typeface="Verdana"/>
              </a:rPr>
              <a:t>Aarhus Convention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dirty="0">
                <a:latin typeface="Verdana"/>
                <a:cs typeface="Verdana"/>
              </a:rPr>
              <a:t>Kiev Protocol (to the Espoo Convention)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Performance Standards of Financial Institutions (relevant for blending)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endParaRPr lang="en-US" i="0" dirty="0">
              <a:latin typeface="Verdana"/>
              <a:cs typeface="Verdana"/>
            </a:endParaRP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endParaRPr lang="en-US" i="0" dirty="0"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8414446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304800" y="228600"/>
            <a:ext cx="2935219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3200" b="1" dirty="0">
                <a:solidFill>
                  <a:schemeClr val="bg1"/>
                </a:solidFill>
              </a:rPr>
              <a:t>EIA </a:t>
            </a:r>
            <a:r>
              <a:rPr lang="es-ES" sz="3200" b="1" dirty="0" err="1">
                <a:solidFill>
                  <a:schemeClr val="bg1"/>
                </a:solidFill>
              </a:rPr>
              <a:t>Process</a:t>
            </a:r>
            <a:endParaRPr lang="es-ES" sz="32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927253794"/>
              </p:ext>
            </p:extLst>
          </p:nvPr>
        </p:nvGraphicFramePr>
        <p:xfrm>
          <a:off x="1447800" y="1371600"/>
          <a:ext cx="63246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ounded Rectangle 3"/>
          <p:cNvSpPr/>
          <p:nvPr/>
        </p:nvSpPr>
        <p:spPr bwMode="auto">
          <a:xfrm>
            <a:off x="457200" y="1371600"/>
            <a:ext cx="609600" cy="5181600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Public Participation</a:t>
            </a:r>
          </a:p>
        </p:txBody>
      </p:sp>
    </p:spTree>
    <p:extLst>
      <p:ext uri="{BB962C8B-B14F-4D97-AF65-F5344CB8AC3E}">
        <p14:creationId xmlns:p14="http://schemas.microsoft.com/office/powerpoint/2010/main" val="1516336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9F91F8-467A-9544-BFE3-36F26AAE7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155485"/>
            <a:ext cx="8229600" cy="936625"/>
          </a:xfrm>
        </p:spPr>
        <p:txBody>
          <a:bodyPr/>
          <a:lstStyle/>
          <a:p>
            <a:r>
              <a:rPr lang="es-ES" dirty="0"/>
              <a:t>Key </a:t>
            </a:r>
            <a:r>
              <a:rPr lang="es-ES" dirty="0" err="1"/>
              <a:t>contents</a:t>
            </a:r>
            <a:r>
              <a:rPr lang="es-ES" dirty="0"/>
              <a:t> to </a:t>
            </a:r>
            <a:r>
              <a:rPr lang="es-ES" dirty="0" err="1"/>
              <a:t>highlight</a:t>
            </a:r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034F314-2296-0441-B9A0-DF67202BA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9B88F7-18C3-2941-98CD-71B7F9BC40D0}" type="slidenum">
              <a:rPr lang="en-GB" smtClean="0">
                <a:solidFill>
                  <a:srgbClr val="000000"/>
                </a:solidFill>
              </a:rPr>
              <a:pPr/>
              <a:t>9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1027">
            <a:extLst>
              <a:ext uri="{FF2B5EF4-FFF2-40B4-BE49-F238E27FC236}">
                <a16:creationId xmlns:a16="http://schemas.microsoft.com/office/drawing/2014/main" id="{6C187DAE-A58F-2B41-A875-EC00B7408F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193" y="2121983"/>
            <a:ext cx="8727326" cy="314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Non-technical summary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Analysis of alternatives (including baseline scenario)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Cumulative impacts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Addressing climate vulnerability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Impacts associated to vulnerability to major accidents and/or disasters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All phases of the project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Associated developments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r>
              <a:rPr lang="en-US" i="0" dirty="0">
                <a:latin typeface="Verdana"/>
                <a:cs typeface="Verdana"/>
              </a:rPr>
              <a:t>Transboundary consultations</a:t>
            </a: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endParaRPr lang="en-US" i="0" dirty="0">
              <a:latin typeface="Verdana"/>
              <a:cs typeface="Verdana"/>
            </a:endParaRP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endParaRPr lang="en-US" i="0" dirty="0">
              <a:latin typeface="Verdana"/>
              <a:cs typeface="Verdana"/>
            </a:endParaRPr>
          </a:p>
          <a:p>
            <a:pPr>
              <a:spcBef>
                <a:spcPct val="0"/>
              </a:spcBef>
              <a:spcAft>
                <a:spcPct val="40000"/>
              </a:spcAft>
              <a:buClr>
                <a:srgbClr val="C00000"/>
              </a:buClr>
            </a:pPr>
            <a:endParaRPr lang="en-US" i="0" dirty="0"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193874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PREVIOUSNAME" val="C:\Users\Luke Buhl-Nielsen\Documents\Dad work\20151130 1730_Module 3 cycle of development actions nov2015.pp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_Master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>
            <a:ln>
              <a:noFill/>
            </a:ln>
            <a:solidFill>
              <a:srgbClr val="0F5494"/>
            </a:solidFill>
            <a:effectLst/>
            <a:latin typeface="Verdana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>
            <a:ln>
              <a:noFill/>
            </a:ln>
            <a:solidFill>
              <a:srgbClr val="0F5494"/>
            </a:solidFill>
            <a:effectLst/>
            <a:latin typeface="Verdana" charset="0"/>
            <a:ea typeface="ＭＳ Ｐゴシック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0315</TotalTime>
  <Words>625</Words>
  <Application>Microsoft Macintosh PowerPoint</Application>
  <PresentationFormat>Presentación en pantalla (4:3)</PresentationFormat>
  <Paragraphs>133</Paragraphs>
  <Slides>16</Slides>
  <Notes>10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27" baseType="lpstr">
      <vt:lpstr>ＭＳ Ｐゴシック</vt:lpstr>
      <vt:lpstr>Arial</vt:lpstr>
      <vt:lpstr>Calibri</vt:lpstr>
      <vt:lpstr>EC Square Sans</vt:lpstr>
      <vt:lpstr>EC Square Sans Pro Medium</vt:lpstr>
      <vt:lpstr>Helvetica</vt:lpstr>
      <vt:lpstr>Times</vt:lpstr>
      <vt:lpstr>Times New Roman</vt:lpstr>
      <vt:lpstr>Verdana</vt:lpstr>
      <vt:lpstr>Slide_Master</vt:lpstr>
      <vt:lpstr>think-cell Slide</vt:lpstr>
      <vt:lpstr>Towards Sustainable Development –  Greening EU Development Cooperation</vt:lpstr>
      <vt:lpstr>Environmental Impact Assessment</vt:lpstr>
      <vt:lpstr>Environmental Impact Assessment</vt:lpstr>
      <vt:lpstr>Key objectives of EIA</vt:lpstr>
      <vt:lpstr>Key aspects around EIA</vt:lpstr>
      <vt:lpstr>EIA principles</vt:lpstr>
      <vt:lpstr>EIA regulatory framework</vt:lpstr>
      <vt:lpstr>Presentación de PowerPoint</vt:lpstr>
      <vt:lpstr>Key contents to highlight</vt:lpstr>
      <vt:lpstr>EIA and biodiversity:  the "mitigation" hierarchy</vt:lpstr>
      <vt:lpstr>Environmental Management Plan</vt:lpstr>
      <vt:lpstr>Common shortcomings in EIA systems</vt:lpstr>
      <vt:lpstr>Climate Risk Assessment</vt:lpstr>
      <vt:lpstr>Climate Risk Assessment</vt:lpstr>
      <vt:lpstr>Climate-proofing infrastructure</vt:lpstr>
      <vt:lpstr>Presentación de PowerPoint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bn@pem.dk</dc:creator>
  <cp:lastModifiedBy>Usuario de Microsoft Office</cp:lastModifiedBy>
  <cp:revision>893</cp:revision>
  <cp:lastPrinted>2016-05-13T12:49:27Z</cp:lastPrinted>
  <dcterms:created xsi:type="dcterms:W3CDTF">2012-11-28T17:00:29Z</dcterms:created>
  <dcterms:modified xsi:type="dcterms:W3CDTF">2019-03-15T10:20:49Z</dcterms:modified>
</cp:coreProperties>
</file>